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5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6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7.xml" ContentType="application/vnd.openxmlformats-officedocument.them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8.xml" ContentType="application/vnd.openxmlformats-officedocument.them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9.xml" ContentType="application/vnd.openxmlformats-officedocument.them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0.xml" ContentType="application/vnd.openxmlformats-officedocument.theme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1.xml" ContentType="application/vnd.openxmlformats-officedocument.theme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2.xml" ContentType="application/vnd.openxmlformats-officedocument.theme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3.xml" ContentType="application/vnd.openxmlformats-officedocument.theme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tags/tag1790.xml" ContentType="application/vnd.openxmlformats-officedocument.presentationml.tags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tags/tag1799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tags/tag1825.xml" ContentType="application/vnd.openxmlformats-officedocument.presentationml.tags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0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tags/tag1892.xml" ContentType="application/vnd.openxmlformats-officedocument.presentationml.tags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tags/tag1895.xml" ContentType="application/vnd.openxmlformats-officedocument.presentationml.tags+xml"/>
  <Override PartName="/ppt/tags/tag1896.xml" ContentType="application/vnd.openxmlformats-officedocument.presentationml.tags+xml"/>
  <Override PartName="/ppt/tags/tag1897.xml" ContentType="application/vnd.openxmlformats-officedocument.presentationml.tags+xml"/>
  <Override PartName="/ppt/tags/tag1898.xml" ContentType="application/vnd.openxmlformats-officedocument.presentationml.tags+xml"/>
  <Override PartName="/ppt/tags/tag1899.xml" ContentType="application/vnd.openxmlformats-officedocument.presentationml.tags+xml"/>
  <Override PartName="/ppt/tags/tag1900.xml" ContentType="application/vnd.openxmlformats-officedocument.presentationml.tags+xml"/>
  <Override PartName="/ppt/tags/tag1901.xml" ContentType="application/vnd.openxmlformats-officedocument.presentationml.tags+xml"/>
  <Override PartName="/ppt/tags/tag1902.xml" ContentType="application/vnd.openxmlformats-officedocument.presentationml.tags+xml"/>
  <Override PartName="/ppt/tags/tag1903.xml" ContentType="application/vnd.openxmlformats-officedocument.presentationml.tags+xml"/>
  <Override PartName="/ppt/tags/tag1904.xml" ContentType="application/vnd.openxmlformats-officedocument.presentationml.tags+xml"/>
  <Override PartName="/ppt/tags/tag1905.xml" ContentType="application/vnd.openxmlformats-officedocument.presentationml.tags+xml"/>
  <Override PartName="/ppt/tags/tag1906.xml" ContentType="application/vnd.openxmlformats-officedocument.presentationml.tags+xml"/>
  <Override PartName="/ppt/tags/tag1907.xml" ContentType="application/vnd.openxmlformats-officedocument.presentationml.tags+xml"/>
  <Override PartName="/ppt/tags/tag1908.xml" ContentType="application/vnd.openxmlformats-officedocument.presentationml.tags+xml"/>
  <Override PartName="/ppt/tags/tag1909.xml" ContentType="application/vnd.openxmlformats-officedocument.presentationml.tags+xml"/>
  <Override PartName="/ppt/tags/tag1910.xml" ContentType="application/vnd.openxmlformats-officedocument.presentationml.tags+xml"/>
  <Override PartName="/ppt/tags/tag1911.xml" ContentType="application/vnd.openxmlformats-officedocument.presentationml.tags+xml"/>
  <Override PartName="/ppt/tags/tag1912.xml" ContentType="application/vnd.openxmlformats-officedocument.presentationml.tags+xml"/>
  <Override PartName="/ppt/tags/tag1913.xml" ContentType="application/vnd.openxmlformats-officedocument.presentationml.tags+xml"/>
  <Override PartName="/ppt/tags/tag1914.xml" ContentType="application/vnd.openxmlformats-officedocument.presentationml.tags+xml"/>
  <Override PartName="/ppt/tags/tag1915.xml" ContentType="application/vnd.openxmlformats-officedocument.presentationml.tags+xml"/>
  <Override PartName="/ppt/tags/tag1916.xml" ContentType="application/vnd.openxmlformats-officedocument.presentationml.tags+xml"/>
  <Override PartName="/ppt/tags/tag1917.xml" ContentType="application/vnd.openxmlformats-officedocument.presentationml.tags+xml"/>
  <Override PartName="/ppt/tags/tag1918.xml" ContentType="application/vnd.openxmlformats-officedocument.presentationml.tags+xml"/>
  <Override PartName="/ppt/tags/tag1919.xml" ContentType="application/vnd.openxmlformats-officedocument.presentationml.tags+xml"/>
  <Override PartName="/ppt/tags/tag1920.xml" ContentType="application/vnd.openxmlformats-officedocument.presentationml.tags+xml"/>
  <Override PartName="/ppt/tags/tag1921.xml" ContentType="application/vnd.openxmlformats-officedocument.presentationml.tags+xml"/>
  <Override PartName="/ppt/tags/tag1922.xml" ContentType="application/vnd.openxmlformats-officedocument.presentationml.tags+xml"/>
  <Override PartName="/ppt/tags/tag1923.xml" ContentType="application/vnd.openxmlformats-officedocument.presentationml.tags+xml"/>
  <Override PartName="/ppt/tags/tag1924.xml" ContentType="application/vnd.openxmlformats-officedocument.presentationml.tags+xml"/>
  <Override PartName="/ppt/tags/tag1925.xml" ContentType="application/vnd.openxmlformats-officedocument.presentationml.tags+xml"/>
  <Override PartName="/ppt/tags/tag1926.xml" ContentType="application/vnd.openxmlformats-officedocument.presentationml.tags+xml"/>
  <Override PartName="/ppt/tags/tag1927.xml" ContentType="application/vnd.openxmlformats-officedocument.presentationml.tags+xml"/>
  <Override PartName="/ppt/tags/tag1928.xml" ContentType="application/vnd.openxmlformats-officedocument.presentationml.tags+xml"/>
  <Override PartName="/ppt/tags/tag1929.xml" ContentType="application/vnd.openxmlformats-officedocument.presentationml.tags+xml"/>
  <Override PartName="/ppt/tags/tag1930.xml" ContentType="application/vnd.openxmlformats-officedocument.presentationml.tags+xml"/>
  <Override PartName="/ppt/tags/tag1931.xml" ContentType="application/vnd.openxmlformats-officedocument.presentationml.tags+xml"/>
  <Override PartName="/ppt/tags/tag1932.xml" ContentType="application/vnd.openxmlformats-officedocument.presentationml.tags+xml"/>
  <Override PartName="/ppt/tags/tag1933.xml" ContentType="application/vnd.openxmlformats-officedocument.presentationml.tags+xml"/>
  <Override PartName="/ppt/tags/tag1934.xml" ContentType="application/vnd.openxmlformats-officedocument.presentationml.tags+xml"/>
  <Override PartName="/ppt/tags/tag1935.xml" ContentType="application/vnd.openxmlformats-officedocument.presentationml.tags+xml"/>
  <Override PartName="/ppt/tags/tag1936.xml" ContentType="application/vnd.openxmlformats-officedocument.presentationml.tags+xml"/>
  <Override PartName="/ppt/tags/tag1937.xml" ContentType="application/vnd.openxmlformats-officedocument.presentationml.tags+xml"/>
  <Override PartName="/ppt/tags/tag1938.xml" ContentType="application/vnd.openxmlformats-officedocument.presentationml.tags+xml"/>
  <Override PartName="/ppt/tags/tag1939.xml" ContentType="application/vnd.openxmlformats-officedocument.presentationml.tags+xml"/>
  <Override PartName="/ppt/tags/tag1940.xml" ContentType="application/vnd.openxmlformats-officedocument.presentationml.tags+xml"/>
  <Override PartName="/ppt/tags/tag1941.xml" ContentType="application/vnd.openxmlformats-officedocument.presentationml.tags+xml"/>
  <Override PartName="/ppt/tags/tag1942.xml" ContentType="application/vnd.openxmlformats-officedocument.presentationml.tags+xml"/>
  <Override PartName="/ppt/tags/tag1943.xml" ContentType="application/vnd.openxmlformats-officedocument.presentationml.tags+xml"/>
  <Override PartName="/ppt/tags/tag1944.xml" ContentType="application/vnd.openxmlformats-officedocument.presentationml.tags+xml"/>
  <Override PartName="/ppt/tags/tag1945.xml" ContentType="application/vnd.openxmlformats-officedocument.presentationml.tags+xml"/>
  <Override PartName="/ppt/tags/tag1946.xml" ContentType="application/vnd.openxmlformats-officedocument.presentationml.tags+xml"/>
  <Override PartName="/ppt/tags/tag1947.xml" ContentType="application/vnd.openxmlformats-officedocument.presentationml.tags+xml"/>
  <Override PartName="/ppt/tags/tag1948.xml" ContentType="application/vnd.openxmlformats-officedocument.presentationml.tags+xml"/>
  <Override PartName="/ppt/tags/tag1949.xml" ContentType="application/vnd.openxmlformats-officedocument.presentationml.tags+xml"/>
  <Override PartName="/ppt/tags/tag1950.xml" ContentType="application/vnd.openxmlformats-officedocument.presentationml.tags+xml"/>
  <Override PartName="/ppt/tags/tag1951.xml" ContentType="application/vnd.openxmlformats-officedocument.presentationml.tags+xml"/>
  <Override PartName="/ppt/tags/tag1952.xml" ContentType="application/vnd.openxmlformats-officedocument.presentationml.tags+xml"/>
  <Override PartName="/ppt/tags/tag1953.xml" ContentType="application/vnd.openxmlformats-officedocument.presentationml.tags+xml"/>
  <Override PartName="/ppt/tags/tag1954.xml" ContentType="application/vnd.openxmlformats-officedocument.presentationml.tags+xml"/>
  <Override PartName="/ppt/tags/tag1955.xml" ContentType="application/vnd.openxmlformats-officedocument.presentationml.tags+xml"/>
  <Override PartName="/ppt/tags/tag1956.xml" ContentType="application/vnd.openxmlformats-officedocument.presentationml.tags+xml"/>
  <Override PartName="/ppt/tags/tag1957.xml" ContentType="application/vnd.openxmlformats-officedocument.presentationml.tags+xml"/>
  <Override PartName="/ppt/tags/tag1958.xml" ContentType="application/vnd.openxmlformats-officedocument.presentationml.tags+xml"/>
  <Override PartName="/ppt/tags/tag1959.xml" ContentType="application/vnd.openxmlformats-officedocument.presentationml.tags+xml"/>
  <Override PartName="/ppt/tags/tag1960.xml" ContentType="application/vnd.openxmlformats-officedocument.presentationml.tags+xml"/>
  <Override PartName="/ppt/tags/tag1961.xml" ContentType="application/vnd.openxmlformats-officedocument.presentationml.tags+xml"/>
  <Override PartName="/ppt/tags/tag1962.xml" ContentType="application/vnd.openxmlformats-officedocument.presentationml.tags+xml"/>
  <Override PartName="/ppt/tags/tag1963.xml" ContentType="application/vnd.openxmlformats-officedocument.presentationml.tags+xml"/>
  <Override PartName="/ppt/tags/tag1964.xml" ContentType="application/vnd.openxmlformats-officedocument.presentationml.tags+xml"/>
  <Override PartName="/ppt/tags/tag1965.xml" ContentType="application/vnd.openxmlformats-officedocument.presentationml.tags+xml"/>
  <Override PartName="/ppt/tags/tag1966.xml" ContentType="application/vnd.openxmlformats-officedocument.presentationml.tags+xml"/>
  <Override PartName="/ppt/tags/tag1967.xml" ContentType="application/vnd.openxmlformats-officedocument.presentationml.tags+xml"/>
  <Override PartName="/ppt/tags/tag1968.xml" ContentType="application/vnd.openxmlformats-officedocument.presentationml.tags+xml"/>
  <Override PartName="/ppt/tags/tag1969.xml" ContentType="application/vnd.openxmlformats-officedocument.presentationml.tags+xml"/>
  <Override PartName="/ppt/tags/tag1970.xml" ContentType="application/vnd.openxmlformats-officedocument.presentationml.tags+xml"/>
  <Override PartName="/ppt/tags/tag1971.xml" ContentType="application/vnd.openxmlformats-officedocument.presentationml.tags+xml"/>
  <Override PartName="/ppt/tags/tag1972.xml" ContentType="application/vnd.openxmlformats-officedocument.presentationml.tags+xml"/>
  <Override PartName="/ppt/tags/tag1973.xml" ContentType="application/vnd.openxmlformats-officedocument.presentationml.tags+xml"/>
  <Override PartName="/ppt/tags/tag1974.xml" ContentType="application/vnd.openxmlformats-officedocument.presentationml.tags+xml"/>
  <Override PartName="/ppt/tags/tag1975.xml" ContentType="application/vnd.openxmlformats-officedocument.presentationml.tags+xml"/>
  <Override PartName="/ppt/tags/tag1976.xml" ContentType="application/vnd.openxmlformats-officedocument.presentationml.tags+xml"/>
  <Override PartName="/ppt/tags/tag1977.xml" ContentType="application/vnd.openxmlformats-officedocument.presentationml.tags+xml"/>
  <Override PartName="/ppt/tags/tag1978.xml" ContentType="application/vnd.openxmlformats-officedocument.presentationml.tags+xml"/>
  <Override PartName="/ppt/tags/tag1979.xml" ContentType="application/vnd.openxmlformats-officedocument.presentationml.tags+xml"/>
  <Override PartName="/ppt/tags/tag1980.xml" ContentType="application/vnd.openxmlformats-officedocument.presentationml.tags+xml"/>
  <Override PartName="/ppt/tags/tag1981.xml" ContentType="application/vnd.openxmlformats-officedocument.presentationml.tags+xml"/>
  <Override PartName="/ppt/tags/tag1982.xml" ContentType="application/vnd.openxmlformats-officedocument.presentationml.tags+xml"/>
  <Override PartName="/ppt/tags/tag1983.xml" ContentType="application/vnd.openxmlformats-officedocument.presentationml.tags+xml"/>
  <Override PartName="/ppt/tags/tag1984.xml" ContentType="application/vnd.openxmlformats-officedocument.presentationml.tags+xml"/>
  <Override PartName="/ppt/tags/tag1985.xml" ContentType="application/vnd.openxmlformats-officedocument.presentationml.tags+xml"/>
  <Override PartName="/ppt/tags/tag1986.xml" ContentType="application/vnd.openxmlformats-officedocument.presentationml.tags+xml"/>
  <Override PartName="/ppt/tags/tag1987.xml" ContentType="application/vnd.openxmlformats-officedocument.presentationml.tags+xml"/>
  <Override PartName="/ppt/tags/tag1988.xml" ContentType="application/vnd.openxmlformats-officedocument.presentationml.tags+xml"/>
  <Override PartName="/ppt/tags/tag1989.xml" ContentType="application/vnd.openxmlformats-officedocument.presentationml.tags+xml"/>
  <Override PartName="/ppt/tags/tag1990.xml" ContentType="application/vnd.openxmlformats-officedocument.presentationml.tags+xml"/>
  <Override PartName="/ppt/tags/tag1991.xml" ContentType="application/vnd.openxmlformats-officedocument.presentationml.tags+xml"/>
  <Override PartName="/ppt/tags/tag1992.xml" ContentType="application/vnd.openxmlformats-officedocument.presentationml.tags+xml"/>
  <Override PartName="/ppt/tags/tag1993.xml" ContentType="application/vnd.openxmlformats-officedocument.presentationml.tags+xml"/>
  <Override PartName="/ppt/tags/tag1994.xml" ContentType="application/vnd.openxmlformats-officedocument.presentationml.tags+xml"/>
  <Override PartName="/ppt/tags/tag1995.xml" ContentType="application/vnd.openxmlformats-officedocument.presentationml.tags+xml"/>
  <Override PartName="/ppt/tags/tag1996.xml" ContentType="application/vnd.openxmlformats-officedocument.presentationml.tags+xml"/>
  <Override PartName="/ppt/tags/tag1997.xml" ContentType="application/vnd.openxmlformats-officedocument.presentationml.tags+xml"/>
  <Override PartName="/ppt/tags/tag1998.xml" ContentType="application/vnd.openxmlformats-officedocument.presentationml.tags+xml"/>
  <Override PartName="/ppt/tags/tag1999.xml" ContentType="application/vnd.openxmlformats-officedocument.presentationml.tags+xml"/>
  <Override PartName="/ppt/tags/tag2000.xml" ContentType="application/vnd.openxmlformats-officedocument.presentationml.tags+xml"/>
  <Override PartName="/ppt/tags/tag2001.xml" ContentType="application/vnd.openxmlformats-officedocument.presentationml.tags+xml"/>
  <Override PartName="/ppt/tags/tag2002.xml" ContentType="application/vnd.openxmlformats-officedocument.presentationml.tags+xml"/>
  <Override PartName="/ppt/tags/tag2003.xml" ContentType="application/vnd.openxmlformats-officedocument.presentationml.tags+xml"/>
  <Override PartName="/ppt/tags/tag2004.xml" ContentType="application/vnd.openxmlformats-officedocument.presentationml.tags+xml"/>
  <Override PartName="/ppt/tags/tag2005.xml" ContentType="application/vnd.openxmlformats-officedocument.presentationml.tags+xml"/>
  <Override PartName="/ppt/tags/tag2006.xml" ContentType="application/vnd.openxmlformats-officedocument.presentationml.tags+xml"/>
  <Override PartName="/ppt/tags/tag2007.xml" ContentType="application/vnd.openxmlformats-officedocument.presentationml.tags+xml"/>
  <Override PartName="/ppt/tags/tag2008.xml" ContentType="application/vnd.openxmlformats-officedocument.presentationml.tags+xml"/>
  <Override PartName="/ppt/tags/tag2009.xml" ContentType="application/vnd.openxmlformats-officedocument.presentationml.tags+xml"/>
  <Override PartName="/ppt/tags/tag2010.xml" ContentType="application/vnd.openxmlformats-officedocument.presentationml.tags+xml"/>
  <Override PartName="/ppt/tags/tag2011.xml" ContentType="application/vnd.openxmlformats-officedocument.presentationml.tags+xml"/>
  <Override PartName="/ppt/tags/tag2012.xml" ContentType="application/vnd.openxmlformats-officedocument.presentationml.tags+xml"/>
  <Override PartName="/ppt/tags/tag2013.xml" ContentType="application/vnd.openxmlformats-officedocument.presentationml.tags+xml"/>
  <Override PartName="/ppt/tags/tag2014.xml" ContentType="application/vnd.openxmlformats-officedocument.presentationml.tags+xml"/>
  <Override PartName="/ppt/tags/tag2015.xml" ContentType="application/vnd.openxmlformats-officedocument.presentationml.tags+xml"/>
  <Override PartName="/ppt/tags/tag2016.xml" ContentType="application/vnd.openxmlformats-officedocument.presentationml.tags+xml"/>
  <Override PartName="/ppt/tags/tag2017.xml" ContentType="application/vnd.openxmlformats-officedocument.presentationml.tags+xml"/>
  <Override PartName="/ppt/tags/tag2018.xml" ContentType="application/vnd.openxmlformats-officedocument.presentationml.tags+xml"/>
  <Override PartName="/ppt/tags/tag2019.xml" ContentType="application/vnd.openxmlformats-officedocument.presentationml.tags+xml"/>
  <Override PartName="/ppt/tags/tag2020.xml" ContentType="application/vnd.openxmlformats-officedocument.presentationml.tags+xml"/>
  <Override PartName="/ppt/tags/tag2021.xml" ContentType="application/vnd.openxmlformats-officedocument.presentationml.tags+xml"/>
  <Override PartName="/ppt/tags/tag2022.xml" ContentType="application/vnd.openxmlformats-officedocument.presentationml.tags+xml"/>
  <Override PartName="/ppt/tags/tag2023.xml" ContentType="application/vnd.openxmlformats-officedocument.presentationml.tags+xml"/>
  <Override PartName="/ppt/tags/tag2024.xml" ContentType="application/vnd.openxmlformats-officedocument.presentationml.tags+xml"/>
  <Override PartName="/ppt/tags/tag2025.xml" ContentType="application/vnd.openxmlformats-officedocument.presentationml.tags+xml"/>
  <Override PartName="/ppt/tags/tag2026.xml" ContentType="application/vnd.openxmlformats-officedocument.presentationml.tags+xml"/>
  <Override PartName="/ppt/tags/tag2027.xml" ContentType="application/vnd.openxmlformats-officedocument.presentationml.tags+xml"/>
  <Override PartName="/ppt/tags/tag2028.xml" ContentType="application/vnd.openxmlformats-officedocument.presentationml.tags+xml"/>
  <Override PartName="/ppt/tags/tag2029.xml" ContentType="application/vnd.openxmlformats-officedocument.presentationml.tags+xml"/>
  <Override PartName="/ppt/tags/tag2030.xml" ContentType="application/vnd.openxmlformats-officedocument.presentationml.tags+xml"/>
  <Override PartName="/ppt/tags/tag2031.xml" ContentType="application/vnd.openxmlformats-officedocument.presentationml.tags+xml"/>
  <Override PartName="/ppt/tags/tag2032.xml" ContentType="application/vnd.openxmlformats-officedocument.presentationml.tags+xml"/>
  <Override PartName="/ppt/tags/tag2033.xml" ContentType="application/vnd.openxmlformats-officedocument.presentationml.tags+xml"/>
  <Override PartName="/ppt/tags/tag2034.xml" ContentType="application/vnd.openxmlformats-officedocument.presentationml.tags+xml"/>
  <Override PartName="/ppt/tags/tag2035.xml" ContentType="application/vnd.openxmlformats-officedocument.presentationml.tags+xml"/>
  <Override PartName="/ppt/tags/tag2036.xml" ContentType="application/vnd.openxmlformats-officedocument.presentationml.tags+xml"/>
  <Override PartName="/ppt/tags/tag2037.xml" ContentType="application/vnd.openxmlformats-officedocument.presentationml.tags+xml"/>
  <Override PartName="/ppt/tags/tag2038.xml" ContentType="application/vnd.openxmlformats-officedocument.presentationml.tags+xml"/>
  <Override PartName="/ppt/tags/tag2039.xml" ContentType="application/vnd.openxmlformats-officedocument.presentationml.tags+xml"/>
  <Override PartName="/ppt/tags/tag2040.xml" ContentType="application/vnd.openxmlformats-officedocument.presentationml.tags+xml"/>
  <Override PartName="/ppt/tags/tag2041.xml" ContentType="application/vnd.openxmlformats-officedocument.presentationml.tags+xml"/>
  <Override PartName="/ppt/tags/tag2042.xml" ContentType="application/vnd.openxmlformats-officedocument.presentationml.tags+xml"/>
  <Override PartName="/ppt/tags/tag2043.xml" ContentType="application/vnd.openxmlformats-officedocument.presentationml.tags+xml"/>
  <Override PartName="/ppt/tags/tag2044.xml" ContentType="application/vnd.openxmlformats-officedocument.presentationml.tags+xml"/>
  <Override PartName="/ppt/tags/tag2045.xml" ContentType="application/vnd.openxmlformats-officedocument.presentationml.tags+xml"/>
  <Override PartName="/ppt/tags/tag2046.xml" ContentType="application/vnd.openxmlformats-officedocument.presentationml.tags+xml"/>
  <Override PartName="/ppt/tags/tag2047.xml" ContentType="application/vnd.openxmlformats-officedocument.presentationml.tags+xml"/>
  <Override PartName="/ppt/tags/tag2048.xml" ContentType="application/vnd.openxmlformats-officedocument.presentationml.tags+xml"/>
  <Override PartName="/ppt/tags/tag2049.xml" ContentType="application/vnd.openxmlformats-officedocument.presentationml.tags+xml"/>
  <Override PartName="/ppt/tags/tag2050.xml" ContentType="application/vnd.openxmlformats-officedocument.presentationml.tags+xml"/>
  <Override PartName="/ppt/tags/tag2051.xml" ContentType="application/vnd.openxmlformats-officedocument.presentationml.tags+xml"/>
  <Override PartName="/ppt/tags/tag2052.xml" ContentType="application/vnd.openxmlformats-officedocument.presentationml.tags+xml"/>
  <Override PartName="/ppt/tags/tag2053.xml" ContentType="application/vnd.openxmlformats-officedocument.presentationml.tags+xml"/>
  <Override PartName="/ppt/tags/tag2054.xml" ContentType="application/vnd.openxmlformats-officedocument.presentationml.tags+xml"/>
  <Override PartName="/ppt/tags/tag2055.xml" ContentType="application/vnd.openxmlformats-officedocument.presentationml.tags+xml"/>
  <Override PartName="/ppt/tags/tag2056.xml" ContentType="application/vnd.openxmlformats-officedocument.presentationml.tags+xml"/>
  <Override PartName="/ppt/tags/tag2057.xml" ContentType="application/vnd.openxmlformats-officedocument.presentationml.tags+xml"/>
  <Override PartName="/ppt/tags/tag2058.xml" ContentType="application/vnd.openxmlformats-officedocument.presentationml.tags+xml"/>
  <Override PartName="/ppt/tags/tag2059.xml" ContentType="application/vnd.openxmlformats-officedocument.presentationml.tags+xml"/>
  <Override PartName="/ppt/tags/tag2060.xml" ContentType="application/vnd.openxmlformats-officedocument.presentationml.tags+xml"/>
  <Override PartName="/ppt/tags/tag2061.xml" ContentType="application/vnd.openxmlformats-officedocument.presentationml.tags+xml"/>
  <Override PartName="/ppt/tags/tag2062.xml" ContentType="application/vnd.openxmlformats-officedocument.presentationml.tags+xml"/>
  <Override PartName="/ppt/tags/tag2063.xml" ContentType="application/vnd.openxmlformats-officedocument.presentationml.tags+xml"/>
  <Override PartName="/ppt/tags/tag2064.xml" ContentType="application/vnd.openxmlformats-officedocument.presentationml.tags+xml"/>
  <Override PartName="/ppt/tags/tag2065.xml" ContentType="application/vnd.openxmlformats-officedocument.presentationml.tags+xml"/>
  <Override PartName="/ppt/tags/tag2066.xml" ContentType="application/vnd.openxmlformats-officedocument.presentationml.tags+xml"/>
  <Override PartName="/ppt/tags/tag2067.xml" ContentType="application/vnd.openxmlformats-officedocument.presentationml.tags+xml"/>
  <Override PartName="/ppt/tags/tag2068.xml" ContentType="application/vnd.openxmlformats-officedocument.presentationml.tags+xml"/>
  <Override PartName="/ppt/tags/tag2069.xml" ContentType="application/vnd.openxmlformats-officedocument.presentationml.tags+xml"/>
  <Override PartName="/ppt/tags/tag2070.xml" ContentType="application/vnd.openxmlformats-officedocument.presentationml.tags+xml"/>
  <Override PartName="/ppt/tags/tag2071.xml" ContentType="application/vnd.openxmlformats-officedocument.presentationml.tags+xml"/>
  <Override PartName="/ppt/tags/tag2072.xml" ContentType="application/vnd.openxmlformats-officedocument.presentationml.tags+xml"/>
  <Override PartName="/ppt/tags/tag2073.xml" ContentType="application/vnd.openxmlformats-officedocument.presentationml.tags+xml"/>
  <Override PartName="/ppt/tags/tag2074.xml" ContentType="application/vnd.openxmlformats-officedocument.presentationml.tags+xml"/>
  <Override PartName="/ppt/tags/tag2075.xml" ContentType="application/vnd.openxmlformats-officedocument.presentationml.tags+xml"/>
  <Override PartName="/ppt/tags/tag2076.xml" ContentType="application/vnd.openxmlformats-officedocument.presentationml.tags+xml"/>
  <Override PartName="/ppt/tags/tag2077.xml" ContentType="application/vnd.openxmlformats-officedocument.presentationml.tags+xml"/>
  <Override PartName="/ppt/tags/tag2078.xml" ContentType="application/vnd.openxmlformats-officedocument.presentationml.tags+xml"/>
  <Override PartName="/ppt/tags/tag2079.xml" ContentType="application/vnd.openxmlformats-officedocument.presentationml.tags+xml"/>
  <Override PartName="/ppt/tags/tag2080.xml" ContentType="application/vnd.openxmlformats-officedocument.presentationml.tags+xml"/>
  <Override PartName="/ppt/tags/tag2081.xml" ContentType="application/vnd.openxmlformats-officedocument.presentationml.tags+xml"/>
  <Override PartName="/ppt/tags/tag2082.xml" ContentType="application/vnd.openxmlformats-officedocument.presentationml.tags+xml"/>
  <Override PartName="/ppt/tags/tag2083.xml" ContentType="application/vnd.openxmlformats-officedocument.presentationml.tags+xml"/>
  <Override PartName="/ppt/tags/tag2084.xml" ContentType="application/vnd.openxmlformats-officedocument.presentationml.tags+xml"/>
  <Override PartName="/ppt/tags/tag2085.xml" ContentType="application/vnd.openxmlformats-officedocument.presentationml.tags+xml"/>
  <Override PartName="/ppt/tags/tag2086.xml" ContentType="application/vnd.openxmlformats-officedocument.presentationml.tags+xml"/>
  <Override PartName="/ppt/tags/tag2087.xml" ContentType="application/vnd.openxmlformats-officedocument.presentationml.tags+xml"/>
  <Override PartName="/ppt/tags/tag2088.xml" ContentType="application/vnd.openxmlformats-officedocument.presentationml.tags+xml"/>
  <Override PartName="/ppt/tags/tag2089.xml" ContentType="application/vnd.openxmlformats-officedocument.presentationml.tags+xml"/>
  <Override PartName="/ppt/tags/tag2090.xml" ContentType="application/vnd.openxmlformats-officedocument.presentationml.tags+xml"/>
  <Override PartName="/ppt/tags/tag2091.xml" ContentType="application/vnd.openxmlformats-officedocument.presentationml.tags+xml"/>
  <Override PartName="/ppt/tags/tag2092.xml" ContentType="application/vnd.openxmlformats-officedocument.presentationml.tags+xml"/>
  <Override PartName="/ppt/tags/tag2093.xml" ContentType="application/vnd.openxmlformats-officedocument.presentationml.tags+xml"/>
  <Override PartName="/ppt/tags/tag2094.xml" ContentType="application/vnd.openxmlformats-officedocument.presentationml.tags+xml"/>
  <Override PartName="/ppt/tags/tag2095.xml" ContentType="application/vnd.openxmlformats-officedocument.presentationml.tags+xml"/>
  <Override PartName="/ppt/tags/tag2096.xml" ContentType="application/vnd.openxmlformats-officedocument.presentationml.tags+xml"/>
  <Override PartName="/ppt/tags/tag2097.xml" ContentType="application/vnd.openxmlformats-officedocument.presentationml.tags+xml"/>
  <Override PartName="/ppt/tags/tag2098.xml" ContentType="application/vnd.openxmlformats-officedocument.presentationml.tags+xml"/>
  <Override PartName="/ppt/tags/tag2099.xml" ContentType="application/vnd.openxmlformats-officedocument.presentationml.tags+xml"/>
  <Override PartName="/ppt/tags/tag2100.xml" ContentType="application/vnd.openxmlformats-officedocument.presentationml.tags+xml"/>
  <Override PartName="/ppt/tags/tag2101.xml" ContentType="application/vnd.openxmlformats-officedocument.presentationml.tags+xml"/>
  <Override PartName="/ppt/tags/tag2102.xml" ContentType="application/vnd.openxmlformats-officedocument.presentationml.tags+xml"/>
  <Override PartName="/ppt/tags/tag2103.xml" ContentType="application/vnd.openxmlformats-officedocument.presentationml.tags+xml"/>
  <Override PartName="/ppt/tags/tag2104.xml" ContentType="application/vnd.openxmlformats-officedocument.presentationml.tags+xml"/>
  <Override PartName="/ppt/tags/tag2105.xml" ContentType="application/vnd.openxmlformats-officedocument.presentationml.tags+xml"/>
  <Override PartName="/ppt/tags/tag2106.xml" ContentType="application/vnd.openxmlformats-officedocument.presentationml.tags+xml"/>
  <Override PartName="/ppt/tags/tag2107.xml" ContentType="application/vnd.openxmlformats-officedocument.presentationml.tags+xml"/>
  <Override PartName="/ppt/tags/tag2108.xml" ContentType="application/vnd.openxmlformats-officedocument.presentationml.tags+xml"/>
  <Override PartName="/ppt/tags/tag2109.xml" ContentType="application/vnd.openxmlformats-officedocument.presentationml.tags+xml"/>
  <Override PartName="/ppt/tags/tag2110.xml" ContentType="application/vnd.openxmlformats-officedocument.presentationml.tags+xml"/>
  <Override PartName="/ppt/tags/tag2111.xml" ContentType="application/vnd.openxmlformats-officedocument.presentationml.tags+xml"/>
  <Override PartName="/ppt/tags/tag2112.xml" ContentType="application/vnd.openxmlformats-officedocument.presentationml.tags+xml"/>
  <Override PartName="/ppt/tags/tag2113.xml" ContentType="application/vnd.openxmlformats-officedocument.presentationml.tags+xml"/>
  <Override PartName="/ppt/tags/tag2114.xml" ContentType="application/vnd.openxmlformats-officedocument.presentationml.tags+xml"/>
  <Override PartName="/ppt/tags/tag2115.xml" ContentType="application/vnd.openxmlformats-officedocument.presentationml.tags+xml"/>
  <Override PartName="/ppt/tags/tag2116.xml" ContentType="application/vnd.openxmlformats-officedocument.presentationml.tags+xml"/>
  <Override PartName="/ppt/tags/tag2117.xml" ContentType="application/vnd.openxmlformats-officedocument.presentationml.tags+xml"/>
  <Override PartName="/ppt/tags/tag2118.xml" ContentType="application/vnd.openxmlformats-officedocument.presentationml.tags+xml"/>
  <Override PartName="/ppt/tags/tag2119.xml" ContentType="application/vnd.openxmlformats-officedocument.presentationml.tags+xml"/>
  <Override PartName="/ppt/tags/tag2120.xml" ContentType="application/vnd.openxmlformats-officedocument.presentationml.tags+xml"/>
  <Override PartName="/ppt/tags/tag2121.xml" ContentType="application/vnd.openxmlformats-officedocument.presentationml.tags+xml"/>
  <Override PartName="/ppt/tags/tag2122.xml" ContentType="application/vnd.openxmlformats-officedocument.presentationml.tags+xml"/>
  <Override PartName="/ppt/tags/tag2123.xml" ContentType="application/vnd.openxmlformats-officedocument.presentationml.tags+xml"/>
  <Override PartName="/ppt/tags/tag2124.xml" ContentType="application/vnd.openxmlformats-officedocument.presentationml.tags+xml"/>
  <Override PartName="/ppt/tags/tag2125.xml" ContentType="application/vnd.openxmlformats-officedocument.presentationml.tags+xml"/>
  <Override PartName="/ppt/tags/tag2126.xml" ContentType="application/vnd.openxmlformats-officedocument.presentationml.tags+xml"/>
  <Override PartName="/ppt/tags/tag2127.xml" ContentType="application/vnd.openxmlformats-officedocument.presentationml.tags+xml"/>
  <Override PartName="/ppt/tags/tag2128.xml" ContentType="application/vnd.openxmlformats-officedocument.presentationml.tags+xml"/>
  <Override PartName="/ppt/tags/tag2129.xml" ContentType="application/vnd.openxmlformats-officedocument.presentationml.tags+xml"/>
  <Override PartName="/ppt/tags/tag2130.xml" ContentType="application/vnd.openxmlformats-officedocument.presentationml.tags+xml"/>
  <Override PartName="/ppt/tags/tag2131.xml" ContentType="application/vnd.openxmlformats-officedocument.presentationml.tags+xml"/>
  <Override PartName="/ppt/tags/tag2132.xml" ContentType="application/vnd.openxmlformats-officedocument.presentationml.tags+xml"/>
  <Override PartName="/ppt/tags/tag2133.xml" ContentType="application/vnd.openxmlformats-officedocument.presentationml.tags+xml"/>
  <Override PartName="/ppt/tags/tag2134.xml" ContentType="application/vnd.openxmlformats-officedocument.presentationml.tags+xml"/>
  <Override PartName="/ppt/tags/tag2135.xml" ContentType="application/vnd.openxmlformats-officedocument.presentationml.tags+xml"/>
  <Override PartName="/ppt/tags/tag2136.xml" ContentType="application/vnd.openxmlformats-officedocument.presentationml.tags+xml"/>
  <Override PartName="/ppt/tags/tag2137.xml" ContentType="application/vnd.openxmlformats-officedocument.presentationml.tags+xml"/>
  <Override PartName="/ppt/tags/tag2138.xml" ContentType="application/vnd.openxmlformats-officedocument.presentationml.tags+xml"/>
  <Override PartName="/ppt/tags/tag2139.xml" ContentType="application/vnd.openxmlformats-officedocument.presentationml.tags+xml"/>
  <Override PartName="/ppt/tags/tag2140.xml" ContentType="application/vnd.openxmlformats-officedocument.presentationml.tags+xml"/>
  <Override PartName="/ppt/tags/tag2141.xml" ContentType="application/vnd.openxmlformats-officedocument.presentationml.tags+xml"/>
  <Override PartName="/ppt/tags/tag2142.xml" ContentType="application/vnd.openxmlformats-officedocument.presentationml.tags+xml"/>
  <Override PartName="/ppt/tags/tag2143.xml" ContentType="application/vnd.openxmlformats-officedocument.presentationml.tags+xml"/>
  <Override PartName="/ppt/tags/tag2144.xml" ContentType="application/vnd.openxmlformats-officedocument.presentationml.tags+xml"/>
  <Override PartName="/ppt/tags/tag2145.xml" ContentType="application/vnd.openxmlformats-officedocument.presentationml.tags+xml"/>
  <Override PartName="/ppt/tags/tag2146.xml" ContentType="application/vnd.openxmlformats-officedocument.presentationml.tags+xml"/>
  <Override PartName="/ppt/tags/tag2147.xml" ContentType="application/vnd.openxmlformats-officedocument.presentationml.tags+xml"/>
  <Override PartName="/ppt/tags/tag2148.xml" ContentType="application/vnd.openxmlformats-officedocument.presentationml.tags+xml"/>
  <Override PartName="/ppt/tags/tag2149.xml" ContentType="application/vnd.openxmlformats-officedocument.presentationml.tags+xml"/>
  <Override PartName="/ppt/tags/tag2150.xml" ContentType="application/vnd.openxmlformats-officedocument.presentationml.tags+xml"/>
  <Override PartName="/ppt/tags/tag2151.xml" ContentType="application/vnd.openxmlformats-officedocument.presentationml.tags+xml"/>
  <Override PartName="/ppt/tags/tag2152.xml" ContentType="application/vnd.openxmlformats-officedocument.presentationml.tags+xml"/>
  <Override PartName="/ppt/tags/tag2153.xml" ContentType="application/vnd.openxmlformats-officedocument.presentationml.tags+xml"/>
  <Override PartName="/ppt/tags/tag2154.xml" ContentType="application/vnd.openxmlformats-officedocument.presentationml.tags+xml"/>
  <Override PartName="/ppt/tags/tag2155.xml" ContentType="application/vnd.openxmlformats-officedocument.presentationml.tags+xml"/>
  <Override PartName="/ppt/tags/tag2156.xml" ContentType="application/vnd.openxmlformats-officedocument.presentationml.tags+xml"/>
  <Override PartName="/ppt/tags/tag2157.xml" ContentType="application/vnd.openxmlformats-officedocument.presentationml.tags+xml"/>
  <Override PartName="/ppt/tags/tag2158.xml" ContentType="application/vnd.openxmlformats-officedocument.presentationml.tags+xml"/>
  <Override PartName="/ppt/tags/tag2159.xml" ContentType="application/vnd.openxmlformats-officedocument.presentationml.tags+xml"/>
  <Override PartName="/ppt/tags/tag2160.xml" ContentType="application/vnd.openxmlformats-officedocument.presentationml.tags+xml"/>
  <Override PartName="/ppt/tags/tag2161.xml" ContentType="application/vnd.openxmlformats-officedocument.presentationml.tags+xml"/>
  <Override PartName="/ppt/tags/tag2162.xml" ContentType="application/vnd.openxmlformats-officedocument.presentationml.tags+xml"/>
  <Override PartName="/ppt/tags/tag2163.xml" ContentType="application/vnd.openxmlformats-officedocument.presentationml.tags+xml"/>
  <Override PartName="/ppt/tags/tag2164.xml" ContentType="application/vnd.openxmlformats-officedocument.presentationml.tags+xml"/>
  <Override PartName="/ppt/tags/tag2165.xml" ContentType="application/vnd.openxmlformats-officedocument.presentationml.tags+xml"/>
  <Override PartName="/ppt/tags/tag2166.xml" ContentType="application/vnd.openxmlformats-officedocument.presentationml.tags+xml"/>
  <Override PartName="/ppt/tags/tag2167.xml" ContentType="application/vnd.openxmlformats-officedocument.presentationml.tags+xml"/>
  <Override PartName="/ppt/tags/tag2168.xml" ContentType="application/vnd.openxmlformats-officedocument.presentationml.tags+xml"/>
  <Override PartName="/ppt/tags/tag2169.xml" ContentType="application/vnd.openxmlformats-officedocument.presentationml.tags+xml"/>
  <Override PartName="/ppt/tags/tag2170.xml" ContentType="application/vnd.openxmlformats-officedocument.presentationml.tags+xml"/>
  <Override PartName="/ppt/tags/tag2171.xml" ContentType="application/vnd.openxmlformats-officedocument.presentationml.tags+xml"/>
  <Override PartName="/ppt/tags/tag2172.xml" ContentType="application/vnd.openxmlformats-officedocument.presentationml.tags+xml"/>
  <Override PartName="/ppt/tags/tag2173.xml" ContentType="application/vnd.openxmlformats-officedocument.presentationml.tags+xml"/>
  <Override PartName="/ppt/tags/tag2174.xml" ContentType="application/vnd.openxmlformats-officedocument.presentationml.tags+xml"/>
  <Override PartName="/ppt/tags/tag2175.xml" ContentType="application/vnd.openxmlformats-officedocument.presentationml.tags+xml"/>
  <Override PartName="/ppt/tags/tag2176.xml" ContentType="application/vnd.openxmlformats-officedocument.presentationml.tags+xml"/>
  <Override PartName="/ppt/tags/tag2177.xml" ContentType="application/vnd.openxmlformats-officedocument.presentationml.tags+xml"/>
  <Override PartName="/ppt/tags/tag2178.xml" ContentType="application/vnd.openxmlformats-officedocument.presentationml.tags+xml"/>
  <Override PartName="/ppt/tags/tag2179.xml" ContentType="application/vnd.openxmlformats-officedocument.presentationml.tags+xml"/>
  <Override PartName="/ppt/tags/tag2180.xml" ContentType="application/vnd.openxmlformats-officedocument.presentationml.tags+xml"/>
  <Override PartName="/ppt/tags/tag2181.xml" ContentType="application/vnd.openxmlformats-officedocument.presentationml.tags+xml"/>
  <Override PartName="/ppt/tags/tag2182.xml" ContentType="application/vnd.openxmlformats-officedocument.presentationml.tags+xml"/>
  <Override PartName="/ppt/tags/tag2183.xml" ContentType="application/vnd.openxmlformats-officedocument.presentationml.tags+xml"/>
  <Override PartName="/ppt/tags/tag2184.xml" ContentType="application/vnd.openxmlformats-officedocument.presentationml.tags+xml"/>
  <Override PartName="/ppt/tags/tag2185.xml" ContentType="application/vnd.openxmlformats-officedocument.presentationml.tags+xml"/>
  <Override PartName="/ppt/tags/tag2186.xml" ContentType="application/vnd.openxmlformats-officedocument.presentationml.tags+xml"/>
  <Override PartName="/ppt/tags/tag2187.xml" ContentType="application/vnd.openxmlformats-officedocument.presentationml.tags+xml"/>
  <Override PartName="/ppt/tags/tag2188.xml" ContentType="application/vnd.openxmlformats-officedocument.presentationml.tags+xml"/>
  <Override PartName="/ppt/tags/tag2189.xml" ContentType="application/vnd.openxmlformats-officedocument.presentationml.tags+xml"/>
  <Override PartName="/ppt/tags/tag2190.xml" ContentType="application/vnd.openxmlformats-officedocument.presentationml.tags+xml"/>
  <Override PartName="/ppt/tags/tag2191.xml" ContentType="application/vnd.openxmlformats-officedocument.presentationml.tags+xml"/>
  <Override PartName="/ppt/tags/tag2192.xml" ContentType="application/vnd.openxmlformats-officedocument.presentationml.tags+xml"/>
  <Override PartName="/ppt/tags/tag2193.xml" ContentType="application/vnd.openxmlformats-officedocument.presentationml.tags+xml"/>
  <Override PartName="/ppt/tags/tag2194.xml" ContentType="application/vnd.openxmlformats-officedocument.presentationml.tags+xml"/>
  <Override PartName="/ppt/tags/tag2195.xml" ContentType="application/vnd.openxmlformats-officedocument.presentationml.tags+xml"/>
  <Override PartName="/ppt/tags/tag2196.xml" ContentType="application/vnd.openxmlformats-officedocument.presentationml.tags+xml"/>
  <Override PartName="/ppt/tags/tag2197.xml" ContentType="application/vnd.openxmlformats-officedocument.presentationml.tags+xml"/>
  <Override PartName="/ppt/tags/tag2198.xml" ContentType="application/vnd.openxmlformats-officedocument.presentationml.tags+xml"/>
  <Override PartName="/ppt/tags/tag2199.xml" ContentType="application/vnd.openxmlformats-officedocument.presentationml.tags+xml"/>
  <Override PartName="/ppt/tags/tag2200.xml" ContentType="application/vnd.openxmlformats-officedocument.presentationml.tags+xml"/>
  <Override PartName="/ppt/tags/tag2201.xml" ContentType="application/vnd.openxmlformats-officedocument.presentationml.tags+xml"/>
  <Override PartName="/ppt/tags/tag2202.xml" ContentType="application/vnd.openxmlformats-officedocument.presentationml.tags+xml"/>
  <Override PartName="/ppt/tags/tag2203.xml" ContentType="application/vnd.openxmlformats-officedocument.presentationml.tags+xml"/>
  <Override PartName="/ppt/tags/tag2204.xml" ContentType="application/vnd.openxmlformats-officedocument.presentationml.tags+xml"/>
  <Override PartName="/ppt/tags/tag2205.xml" ContentType="application/vnd.openxmlformats-officedocument.presentationml.tags+xml"/>
  <Override PartName="/ppt/tags/tag2206.xml" ContentType="application/vnd.openxmlformats-officedocument.presentationml.tags+xml"/>
  <Override PartName="/ppt/tags/tag2207.xml" ContentType="application/vnd.openxmlformats-officedocument.presentationml.tags+xml"/>
  <Override PartName="/ppt/tags/tag2208.xml" ContentType="application/vnd.openxmlformats-officedocument.presentationml.tags+xml"/>
  <Override PartName="/ppt/tags/tag2209.xml" ContentType="application/vnd.openxmlformats-officedocument.presentationml.tags+xml"/>
  <Override PartName="/ppt/tags/tag2210.xml" ContentType="application/vnd.openxmlformats-officedocument.presentationml.tags+xml"/>
  <Override PartName="/ppt/tags/tag2211.xml" ContentType="application/vnd.openxmlformats-officedocument.presentationml.tags+xml"/>
  <Override PartName="/ppt/tags/tag2212.xml" ContentType="application/vnd.openxmlformats-officedocument.presentationml.tags+xml"/>
  <Override PartName="/ppt/tags/tag2213.xml" ContentType="application/vnd.openxmlformats-officedocument.presentationml.tags+xml"/>
  <Override PartName="/ppt/tags/tag2214.xml" ContentType="application/vnd.openxmlformats-officedocument.presentationml.tags+xml"/>
  <Override PartName="/ppt/tags/tag2215.xml" ContentType="application/vnd.openxmlformats-officedocument.presentationml.tags+xml"/>
  <Override PartName="/ppt/tags/tag2216.xml" ContentType="application/vnd.openxmlformats-officedocument.presentationml.tags+xml"/>
  <Override PartName="/ppt/tags/tag2217.xml" ContentType="application/vnd.openxmlformats-officedocument.presentationml.tags+xml"/>
  <Override PartName="/ppt/tags/tag2218.xml" ContentType="application/vnd.openxmlformats-officedocument.presentationml.tags+xml"/>
  <Override PartName="/ppt/tags/tag2219.xml" ContentType="application/vnd.openxmlformats-officedocument.presentationml.tags+xml"/>
  <Override PartName="/ppt/tags/tag2220.xml" ContentType="application/vnd.openxmlformats-officedocument.presentationml.tags+xml"/>
  <Override PartName="/ppt/tags/tag2221.xml" ContentType="application/vnd.openxmlformats-officedocument.presentationml.tags+xml"/>
  <Override PartName="/ppt/tags/tag2222.xml" ContentType="application/vnd.openxmlformats-officedocument.presentationml.tags+xml"/>
  <Override PartName="/ppt/tags/tag2223.xml" ContentType="application/vnd.openxmlformats-officedocument.presentationml.tags+xml"/>
  <Override PartName="/ppt/tags/tag2224.xml" ContentType="application/vnd.openxmlformats-officedocument.presentationml.tags+xml"/>
  <Override PartName="/ppt/tags/tag2225.xml" ContentType="application/vnd.openxmlformats-officedocument.presentationml.tags+xml"/>
  <Override PartName="/ppt/tags/tag2226.xml" ContentType="application/vnd.openxmlformats-officedocument.presentationml.tags+xml"/>
  <Override PartName="/ppt/tags/tag2227.xml" ContentType="application/vnd.openxmlformats-officedocument.presentationml.tags+xml"/>
  <Override PartName="/ppt/tags/tag2228.xml" ContentType="application/vnd.openxmlformats-officedocument.presentationml.tags+xml"/>
  <Override PartName="/ppt/tags/tag2229.xml" ContentType="application/vnd.openxmlformats-officedocument.presentationml.tags+xml"/>
  <Override PartName="/ppt/tags/tag2230.xml" ContentType="application/vnd.openxmlformats-officedocument.presentationml.tags+xml"/>
  <Override PartName="/ppt/tags/tag2231.xml" ContentType="application/vnd.openxmlformats-officedocument.presentationml.tags+xml"/>
  <Override PartName="/ppt/tags/tag2232.xml" ContentType="application/vnd.openxmlformats-officedocument.presentationml.tags+xml"/>
  <Override PartName="/ppt/tags/tag2233.xml" ContentType="application/vnd.openxmlformats-officedocument.presentationml.tags+xml"/>
  <Override PartName="/ppt/tags/tag2234.xml" ContentType="application/vnd.openxmlformats-officedocument.presentationml.tags+xml"/>
  <Override PartName="/ppt/tags/tag2235.xml" ContentType="application/vnd.openxmlformats-officedocument.presentationml.tags+xml"/>
  <Override PartName="/ppt/tags/tag2236.xml" ContentType="application/vnd.openxmlformats-officedocument.presentationml.tags+xml"/>
  <Override PartName="/ppt/tags/tag2237.xml" ContentType="application/vnd.openxmlformats-officedocument.presentationml.tags+xml"/>
  <Override PartName="/ppt/tags/tag2238.xml" ContentType="application/vnd.openxmlformats-officedocument.presentationml.tags+xml"/>
  <Override PartName="/ppt/tags/tag2239.xml" ContentType="application/vnd.openxmlformats-officedocument.presentationml.tags+xml"/>
  <Override PartName="/ppt/tags/tag2240.xml" ContentType="application/vnd.openxmlformats-officedocument.presentationml.tags+xml"/>
  <Override PartName="/ppt/tags/tag2241.xml" ContentType="application/vnd.openxmlformats-officedocument.presentationml.tags+xml"/>
  <Override PartName="/ppt/tags/tag2242.xml" ContentType="application/vnd.openxmlformats-officedocument.presentationml.tags+xml"/>
  <Override PartName="/ppt/tags/tag2243.xml" ContentType="application/vnd.openxmlformats-officedocument.presentationml.tags+xml"/>
  <Override PartName="/ppt/tags/tag2244.xml" ContentType="application/vnd.openxmlformats-officedocument.presentationml.tags+xml"/>
  <Override PartName="/ppt/tags/tag2245.xml" ContentType="application/vnd.openxmlformats-officedocument.presentationml.tags+xml"/>
  <Override PartName="/ppt/tags/tag2246.xml" ContentType="application/vnd.openxmlformats-officedocument.presentationml.tags+xml"/>
  <Override PartName="/ppt/tags/tag2247.xml" ContentType="application/vnd.openxmlformats-officedocument.presentationml.tags+xml"/>
  <Override PartName="/ppt/tags/tag2248.xml" ContentType="application/vnd.openxmlformats-officedocument.presentationml.tags+xml"/>
  <Override PartName="/ppt/tags/tag2249.xml" ContentType="application/vnd.openxmlformats-officedocument.presentationml.tags+xml"/>
  <Override PartName="/ppt/tags/tag2250.xml" ContentType="application/vnd.openxmlformats-officedocument.presentationml.tags+xml"/>
  <Override PartName="/ppt/tags/tag2251.xml" ContentType="application/vnd.openxmlformats-officedocument.presentationml.tags+xml"/>
  <Override PartName="/ppt/tags/tag2252.xml" ContentType="application/vnd.openxmlformats-officedocument.presentationml.tags+xml"/>
  <Override PartName="/ppt/tags/tag2253.xml" ContentType="application/vnd.openxmlformats-officedocument.presentationml.tags+xml"/>
  <Override PartName="/ppt/tags/tag2254.xml" ContentType="application/vnd.openxmlformats-officedocument.presentationml.tags+xml"/>
  <Override PartName="/ppt/tags/tag2255.xml" ContentType="application/vnd.openxmlformats-officedocument.presentationml.tags+xml"/>
  <Override PartName="/ppt/tags/tag2256.xml" ContentType="application/vnd.openxmlformats-officedocument.presentationml.tags+xml"/>
  <Override PartName="/ppt/tags/tag2257.xml" ContentType="application/vnd.openxmlformats-officedocument.presentationml.tags+xml"/>
  <Override PartName="/ppt/tags/tag2258.xml" ContentType="application/vnd.openxmlformats-officedocument.presentationml.tags+xml"/>
  <Override PartName="/ppt/tags/tag2259.xml" ContentType="application/vnd.openxmlformats-officedocument.presentationml.tags+xml"/>
  <Override PartName="/ppt/tags/tag2260.xml" ContentType="application/vnd.openxmlformats-officedocument.presentationml.tags+xml"/>
  <Override PartName="/ppt/tags/tag2261.xml" ContentType="application/vnd.openxmlformats-officedocument.presentationml.tags+xml"/>
  <Override PartName="/ppt/tags/tag2262.xml" ContentType="application/vnd.openxmlformats-officedocument.presentationml.tags+xml"/>
  <Override PartName="/ppt/tags/tag2263.xml" ContentType="application/vnd.openxmlformats-officedocument.presentationml.tags+xml"/>
  <Override PartName="/ppt/tags/tag2264.xml" ContentType="application/vnd.openxmlformats-officedocument.presentationml.tags+xml"/>
  <Override PartName="/ppt/tags/tag2265.xml" ContentType="application/vnd.openxmlformats-officedocument.presentationml.tags+xml"/>
  <Override PartName="/ppt/tags/tag2266.xml" ContentType="application/vnd.openxmlformats-officedocument.presentationml.tags+xml"/>
  <Override PartName="/ppt/tags/tag2267.xml" ContentType="application/vnd.openxmlformats-officedocument.presentationml.tags+xml"/>
  <Override PartName="/ppt/tags/tag2268.xml" ContentType="application/vnd.openxmlformats-officedocument.presentationml.tags+xml"/>
  <Override PartName="/ppt/tags/tag2269.xml" ContentType="application/vnd.openxmlformats-officedocument.presentationml.tags+xml"/>
  <Override PartName="/ppt/tags/tag2270.xml" ContentType="application/vnd.openxmlformats-officedocument.presentationml.tags+xml"/>
  <Override PartName="/ppt/tags/tag2271.xml" ContentType="application/vnd.openxmlformats-officedocument.presentationml.tags+xml"/>
  <Override PartName="/ppt/tags/tag2272.xml" ContentType="application/vnd.openxmlformats-officedocument.presentationml.tags+xml"/>
  <Override PartName="/ppt/tags/tag2273.xml" ContentType="application/vnd.openxmlformats-officedocument.presentationml.tags+xml"/>
  <Override PartName="/ppt/tags/tag2274.xml" ContentType="application/vnd.openxmlformats-officedocument.presentationml.tags+xml"/>
  <Override PartName="/ppt/tags/tag2275.xml" ContentType="application/vnd.openxmlformats-officedocument.presentationml.tags+xml"/>
  <Override PartName="/ppt/tags/tag2276.xml" ContentType="application/vnd.openxmlformats-officedocument.presentationml.tags+xml"/>
  <Override PartName="/ppt/tags/tag2277.xml" ContentType="application/vnd.openxmlformats-officedocument.presentationml.tags+xml"/>
  <Override PartName="/ppt/tags/tag2278.xml" ContentType="application/vnd.openxmlformats-officedocument.presentationml.tags+xml"/>
  <Override PartName="/ppt/tags/tag2279.xml" ContentType="application/vnd.openxmlformats-officedocument.presentationml.tags+xml"/>
  <Override PartName="/ppt/tags/tag2280.xml" ContentType="application/vnd.openxmlformats-officedocument.presentationml.tags+xml"/>
  <Override PartName="/ppt/tags/tag2281.xml" ContentType="application/vnd.openxmlformats-officedocument.presentationml.tags+xml"/>
  <Override PartName="/ppt/tags/tag2282.xml" ContentType="application/vnd.openxmlformats-officedocument.presentationml.tags+xml"/>
  <Override PartName="/ppt/tags/tag2283.xml" ContentType="application/vnd.openxmlformats-officedocument.presentationml.tags+xml"/>
  <Override PartName="/ppt/tags/tag2284.xml" ContentType="application/vnd.openxmlformats-officedocument.presentationml.tags+xml"/>
  <Override PartName="/ppt/tags/tag2285.xml" ContentType="application/vnd.openxmlformats-officedocument.presentationml.tags+xml"/>
  <Override PartName="/ppt/tags/tag2286.xml" ContentType="application/vnd.openxmlformats-officedocument.presentationml.tags+xml"/>
  <Override PartName="/ppt/tags/tag2287.xml" ContentType="application/vnd.openxmlformats-officedocument.presentationml.tags+xml"/>
  <Override PartName="/ppt/tags/tag2288.xml" ContentType="application/vnd.openxmlformats-officedocument.presentationml.tags+xml"/>
  <Override PartName="/ppt/tags/tag2289.xml" ContentType="application/vnd.openxmlformats-officedocument.presentationml.tags+xml"/>
  <Override PartName="/ppt/tags/tag2290.xml" ContentType="application/vnd.openxmlformats-officedocument.presentationml.tags+xml"/>
  <Override PartName="/ppt/tags/tag2291.xml" ContentType="application/vnd.openxmlformats-officedocument.presentationml.tags+xml"/>
  <Override PartName="/ppt/tags/tag2292.xml" ContentType="application/vnd.openxmlformats-officedocument.presentationml.tags+xml"/>
  <Override PartName="/ppt/tags/tag2293.xml" ContentType="application/vnd.openxmlformats-officedocument.presentationml.tags+xml"/>
  <Override PartName="/ppt/tags/tag2294.xml" ContentType="application/vnd.openxmlformats-officedocument.presentationml.tags+xml"/>
  <Override PartName="/ppt/tags/tag2295.xml" ContentType="application/vnd.openxmlformats-officedocument.presentationml.tags+xml"/>
  <Override PartName="/ppt/tags/tag2296.xml" ContentType="application/vnd.openxmlformats-officedocument.presentationml.tags+xml"/>
  <Override PartName="/ppt/tags/tag2297.xml" ContentType="application/vnd.openxmlformats-officedocument.presentationml.tags+xml"/>
  <Override PartName="/ppt/tags/tag2298.xml" ContentType="application/vnd.openxmlformats-officedocument.presentationml.tags+xml"/>
  <Override PartName="/ppt/tags/tag2299.xml" ContentType="application/vnd.openxmlformats-officedocument.presentationml.tags+xml"/>
  <Override PartName="/ppt/tags/tag2300.xml" ContentType="application/vnd.openxmlformats-officedocument.presentationml.tags+xml"/>
  <Override PartName="/ppt/tags/tag2301.xml" ContentType="application/vnd.openxmlformats-officedocument.presentationml.tags+xml"/>
  <Override PartName="/ppt/tags/tag2302.xml" ContentType="application/vnd.openxmlformats-officedocument.presentationml.tags+xml"/>
  <Override PartName="/ppt/tags/tag2303.xml" ContentType="application/vnd.openxmlformats-officedocument.presentationml.tags+xml"/>
  <Override PartName="/ppt/tags/tag2304.xml" ContentType="application/vnd.openxmlformats-officedocument.presentationml.tags+xml"/>
  <Override PartName="/ppt/tags/tag2305.xml" ContentType="application/vnd.openxmlformats-officedocument.presentationml.tags+xml"/>
  <Override PartName="/ppt/tags/tag2306.xml" ContentType="application/vnd.openxmlformats-officedocument.presentationml.tags+xml"/>
  <Override PartName="/ppt/tags/tag2307.xml" ContentType="application/vnd.openxmlformats-officedocument.presentationml.tags+xml"/>
  <Override PartName="/ppt/tags/tag2308.xml" ContentType="application/vnd.openxmlformats-officedocument.presentationml.tags+xml"/>
  <Override PartName="/ppt/tags/tag2309.xml" ContentType="application/vnd.openxmlformats-officedocument.presentationml.tags+xml"/>
  <Override PartName="/ppt/tags/tag2310.xml" ContentType="application/vnd.openxmlformats-officedocument.presentationml.tags+xml"/>
  <Override PartName="/ppt/tags/tag2311.xml" ContentType="application/vnd.openxmlformats-officedocument.presentationml.tags+xml"/>
  <Override PartName="/ppt/tags/tag2312.xml" ContentType="application/vnd.openxmlformats-officedocument.presentationml.tags+xml"/>
  <Override PartName="/ppt/tags/tag2313.xml" ContentType="application/vnd.openxmlformats-officedocument.presentationml.tags+xml"/>
  <Override PartName="/ppt/tags/tag2314.xml" ContentType="application/vnd.openxmlformats-officedocument.presentationml.tags+xml"/>
  <Override PartName="/ppt/tags/tag2315.xml" ContentType="application/vnd.openxmlformats-officedocument.presentationml.tags+xml"/>
  <Override PartName="/ppt/tags/tag2316.xml" ContentType="application/vnd.openxmlformats-officedocument.presentationml.tags+xml"/>
  <Override PartName="/ppt/tags/tag2317.xml" ContentType="application/vnd.openxmlformats-officedocument.presentationml.tags+xml"/>
  <Override PartName="/ppt/tags/tag2318.xml" ContentType="application/vnd.openxmlformats-officedocument.presentationml.tags+xml"/>
  <Override PartName="/ppt/tags/tag2319.xml" ContentType="application/vnd.openxmlformats-officedocument.presentationml.tags+xml"/>
  <Override PartName="/ppt/tags/tag2320.xml" ContentType="application/vnd.openxmlformats-officedocument.presentationml.tags+xml"/>
  <Override PartName="/ppt/tags/tag2321.xml" ContentType="application/vnd.openxmlformats-officedocument.presentationml.tags+xml"/>
  <Override PartName="/ppt/tags/tag2322.xml" ContentType="application/vnd.openxmlformats-officedocument.presentationml.tags+xml"/>
  <Override PartName="/ppt/tags/tag2323.xml" ContentType="application/vnd.openxmlformats-officedocument.presentationml.tags+xml"/>
  <Override PartName="/ppt/tags/tag2324.xml" ContentType="application/vnd.openxmlformats-officedocument.presentationml.tags+xml"/>
  <Override PartName="/ppt/tags/tag2325.xml" ContentType="application/vnd.openxmlformats-officedocument.presentationml.tags+xml"/>
  <Override PartName="/ppt/tags/tag2326.xml" ContentType="application/vnd.openxmlformats-officedocument.presentationml.tags+xml"/>
  <Override PartName="/ppt/tags/tag2327.xml" ContentType="application/vnd.openxmlformats-officedocument.presentationml.tags+xml"/>
  <Override PartName="/ppt/tags/tag2328.xml" ContentType="application/vnd.openxmlformats-officedocument.presentationml.tags+xml"/>
  <Override PartName="/ppt/tags/tag2329.xml" ContentType="application/vnd.openxmlformats-officedocument.presentationml.tags+xml"/>
  <Override PartName="/ppt/tags/tag2330.xml" ContentType="application/vnd.openxmlformats-officedocument.presentationml.tags+xml"/>
  <Override PartName="/ppt/tags/tag2331.xml" ContentType="application/vnd.openxmlformats-officedocument.presentationml.tags+xml"/>
  <Override PartName="/ppt/tags/tag2332.xml" ContentType="application/vnd.openxmlformats-officedocument.presentationml.tags+xml"/>
  <Override PartName="/ppt/tags/tag2333.xml" ContentType="application/vnd.openxmlformats-officedocument.presentationml.tags+xml"/>
  <Override PartName="/ppt/tags/tag2334.xml" ContentType="application/vnd.openxmlformats-officedocument.presentationml.tags+xml"/>
  <Override PartName="/ppt/tags/tag2335.xml" ContentType="application/vnd.openxmlformats-officedocument.presentationml.tags+xml"/>
  <Override PartName="/ppt/tags/tag2336.xml" ContentType="application/vnd.openxmlformats-officedocument.presentationml.tags+xml"/>
  <Override PartName="/ppt/tags/tag2337.xml" ContentType="application/vnd.openxmlformats-officedocument.presentationml.tags+xml"/>
  <Override PartName="/ppt/tags/tag2338.xml" ContentType="application/vnd.openxmlformats-officedocument.presentationml.tags+xml"/>
  <Override PartName="/ppt/tags/tag2339.xml" ContentType="application/vnd.openxmlformats-officedocument.presentationml.tags+xml"/>
  <Override PartName="/ppt/tags/tag2340.xml" ContentType="application/vnd.openxmlformats-officedocument.presentationml.tags+xml"/>
  <Override PartName="/ppt/tags/tag2341.xml" ContentType="application/vnd.openxmlformats-officedocument.presentationml.tags+xml"/>
  <Override PartName="/ppt/tags/tag2342.xml" ContentType="application/vnd.openxmlformats-officedocument.presentationml.tags+xml"/>
  <Override PartName="/ppt/tags/tag2343.xml" ContentType="application/vnd.openxmlformats-officedocument.presentationml.tags+xml"/>
  <Override PartName="/ppt/tags/tag2344.xml" ContentType="application/vnd.openxmlformats-officedocument.presentationml.tags+xml"/>
  <Override PartName="/ppt/tags/tag2345.xml" ContentType="application/vnd.openxmlformats-officedocument.presentationml.tags+xml"/>
  <Override PartName="/ppt/tags/tag2346.xml" ContentType="application/vnd.openxmlformats-officedocument.presentationml.tags+xml"/>
  <Override PartName="/ppt/tags/tag2347.xml" ContentType="application/vnd.openxmlformats-officedocument.presentationml.tags+xml"/>
  <Override PartName="/ppt/tags/tag2348.xml" ContentType="application/vnd.openxmlformats-officedocument.presentationml.tags+xml"/>
  <Override PartName="/ppt/tags/tag2349.xml" ContentType="application/vnd.openxmlformats-officedocument.presentationml.tags+xml"/>
  <Override PartName="/ppt/tags/tag2350.xml" ContentType="application/vnd.openxmlformats-officedocument.presentationml.tags+xml"/>
  <Override PartName="/ppt/tags/tag2351.xml" ContentType="application/vnd.openxmlformats-officedocument.presentationml.tags+xml"/>
  <Override PartName="/ppt/tags/tag2352.xml" ContentType="application/vnd.openxmlformats-officedocument.presentationml.tags+xml"/>
  <Override PartName="/ppt/tags/tag2353.xml" ContentType="application/vnd.openxmlformats-officedocument.presentationml.tags+xml"/>
  <Override PartName="/ppt/tags/tag2354.xml" ContentType="application/vnd.openxmlformats-officedocument.presentationml.tags+xml"/>
  <Override PartName="/ppt/tags/tag2355.xml" ContentType="application/vnd.openxmlformats-officedocument.presentationml.tags+xml"/>
  <Override PartName="/ppt/tags/tag2356.xml" ContentType="application/vnd.openxmlformats-officedocument.presentationml.tags+xml"/>
  <Override PartName="/ppt/tags/tag2357.xml" ContentType="application/vnd.openxmlformats-officedocument.presentationml.tags+xml"/>
  <Override PartName="/ppt/tags/tag2358.xml" ContentType="application/vnd.openxmlformats-officedocument.presentationml.tags+xml"/>
  <Override PartName="/ppt/tags/tag2359.xml" ContentType="application/vnd.openxmlformats-officedocument.presentationml.tags+xml"/>
  <Override PartName="/ppt/tags/tag2360.xml" ContentType="application/vnd.openxmlformats-officedocument.presentationml.tags+xml"/>
  <Override PartName="/ppt/tags/tag2361.xml" ContentType="application/vnd.openxmlformats-officedocument.presentationml.tags+xml"/>
  <Override PartName="/ppt/tags/tag2362.xml" ContentType="application/vnd.openxmlformats-officedocument.presentationml.tags+xml"/>
  <Override PartName="/ppt/tags/tag2363.xml" ContentType="application/vnd.openxmlformats-officedocument.presentationml.tags+xml"/>
  <Override PartName="/ppt/tags/tag2364.xml" ContentType="application/vnd.openxmlformats-officedocument.presentationml.tags+xml"/>
  <Override PartName="/ppt/tags/tag2365.xml" ContentType="application/vnd.openxmlformats-officedocument.presentationml.tags+xml"/>
  <Override PartName="/ppt/tags/tag2366.xml" ContentType="application/vnd.openxmlformats-officedocument.presentationml.tags+xml"/>
  <Override PartName="/ppt/tags/tag2367.xml" ContentType="application/vnd.openxmlformats-officedocument.presentationml.tags+xml"/>
  <Override PartName="/ppt/tags/tag2368.xml" ContentType="application/vnd.openxmlformats-officedocument.presentationml.tags+xml"/>
  <Override PartName="/ppt/tags/tag2369.xml" ContentType="application/vnd.openxmlformats-officedocument.presentationml.tags+xml"/>
  <Override PartName="/ppt/tags/tag2370.xml" ContentType="application/vnd.openxmlformats-officedocument.presentationml.tags+xml"/>
  <Override PartName="/ppt/tags/tag2371.xml" ContentType="application/vnd.openxmlformats-officedocument.presentationml.tags+xml"/>
  <Override PartName="/ppt/tags/tag2372.xml" ContentType="application/vnd.openxmlformats-officedocument.presentationml.tags+xml"/>
  <Override PartName="/ppt/tags/tag2373.xml" ContentType="application/vnd.openxmlformats-officedocument.presentationml.tags+xml"/>
  <Override PartName="/ppt/tags/tag2374.xml" ContentType="application/vnd.openxmlformats-officedocument.presentationml.tags+xml"/>
  <Override PartName="/ppt/tags/tag2375.xml" ContentType="application/vnd.openxmlformats-officedocument.presentationml.tags+xml"/>
  <Override PartName="/ppt/tags/tag2376.xml" ContentType="application/vnd.openxmlformats-officedocument.presentationml.tags+xml"/>
  <Override PartName="/ppt/tags/tag2377.xml" ContentType="application/vnd.openxmlformats-officedocument.presentationml.tags+xml"/>
  <Override PartName="/ppt/tags/tag2378.xml" ContentType="application/vnd.openxmlformats-officedocument.presentationml.tags+xml"/>
  <Override PartName="/ppt/tags/tag2379.xml" ContentType="application/vnd.openxmlformats-officedocument.presentationml.tags+xml"/>
  <Override PartName="/ppt/tags/tag2380.xml" ContentType="application/vnd.openxmlformats-officedocument.presentationml.tags+xml"/>
  <Override PartName="/ppt/tags/tag2381.xml" ContentType="application/vnd.openxmlformats-officedocument.presentationml.tags+xml"/>
  <Override PartName="/ppt/tags/tag2382.xml" ContentType="application/vnd.openxmlformats-officedocument.presentationml.tags+xml"/>
  <Override PartName="/ppt/tags/tag2383.xml" ContentType="application/vnd.openxmlformats-officedocument.presentationml.tags+xml"/>
  <Override PartName="/ppt/tags/tag2384.xml" ContentType="application/vnd.openxmlformats-officedocument.presentationml.tags+xml"/>
  <Override PartName="/ppt/tags/tag2385.xml" ContentType="application/vnd.openxmlformats-officedocument.presentationml.tags+xml"/>
  <Override PartName="/ppt/tags/tag2386.xml" ContentType="application/vnd.openxmlformats-officedocument.presentationml.tags+xml"/>
  <Override PartName="/ppt/tags/tag2387.xml" ContentType="application/vnd.openxmlformats-officedocument.presentationml.tags+xml"/>
  <Override PartName="/ppt/tags/tag2388.xml" ContentType="application/vnd.openxmlformats-officedocument.presentationml.tags+xml"/>
  <Override PartName="/ppt/tags/tag2389.xml" ContentType="application/vnd.openxmlformats-officedocument.presentationml.tags+xml"/>
  <Override PartName="/ppt/tags/tag2390.xml" ContentType="application/vnd.openxmlformats-officedocument.presentationml.tags+xml"/>
  <Override PartName="/ppt/tags/tag2391.xml" ContentType="application/vnd.openxmlformats-officedocument.presentationml.tags+xml"/>
  <Override PartName="/ppt/tags/tag2392.xml" ContentType="application/vnd.openxmlformats-officedocument.presentationml.tags+xml"/>
  <Override PartName="/ppt/tags/tag2393.xml" ContentType="application/vnd.openxmlformats-officedocument.presentationml.tags+xml"/>
  <Override PartName="/ppt/tags/tag2394.xml" ContentType="application/vnd.openxmlformats-officedocument.presentationml.tags+xml"/>
  <Override PartName="/ppt/tags/tag2395.xml" ContentType="application/vnd.openxmlformats-officedocument.presentationml.tags+xml"/>
  <Override PartName="/ppt/tags/tag2396.xml" ContentType="application/vnd.openxmlformats-officedocument.presentationml.tags+xml"/>
  <Override PartName="/ppt/tags/tag2397.xml" ContentType="application/vnd.openxmlformats-officedocument.presentationml.tags+xml"/>
  <Override PartName="/ppt/tags/tag2398.xml" ContentType="application/vnd.openxmlformats-officedocument.presentationml.tags+xml"/>
  <Override PartName="/ppt/tags/tag2399.xml" ContentType="application/vnd.openxmlformats-officedocument.presentationml.tags+xml"/>
  <Override PartName="/ppt/tags/tag2400.xml" ContentType="application/vnd.openxmlformats-officedocument.presentationml.tags+xml"/>
  <Override PartName="/ppt/tags/tag2401.xml" ContentType="application/vnd.openxmlformats-officedocument.presentationml.tags+xml"/>
  <Override PartName="/ppt/tags/tag2402.xml" ContentType="application/vnd.openxmlformats-officedocument.presentationml.tags+xml"/>
  <Override PartName="/ppt/tags/tag2403.xml" ContentType="application/vnd.openxmlformats-officedocument.presentationml.tags+xml"/>
  <Override PartName="/ppt/tags/tag2404.xml" ContentType="application/vnd.openxmlformats-officedocument.presentationml.tags+xml"/>
  <Override PartName="/ppt/tags/tag2405.xml" ContentType="application/vnd.openxmlformats-officedocument.presentationml.tags+xml"/>
  <Override PartName="/ppt/tags/tag2406.xml" ContentType="application/vnd.openxmlformats-officedocument.presentationml.tags+xml"/>
  <Override PartName="/ppt/tags/tag2407.xml" ContentType="application/vnd.openxmlformats-officedocument.presentationml.tags+xml"/>
  <Override PartName="/ppt/tags/tag2408.xml" ContentType="application/vnd.openxmlformats-officedocument.presentationml.tags+xml"/>
  <Override PartName="/ppt/tags/tag2409.xml" ContentType="application/vnd.openxmlformats-officedocument.presentationml.tags+xml"/>
  <Override PartName="/ppt/tags/tag2410.xml" ContentType="application/vnd.openxmlformats-officedocument.presentationml.tags+xml"/>
  <Override PartName="/ppt/tags/tag2411.xml" ContentType="application/vnd.openxmlformats-officedocument.presentationml.tags+xml"/>
  <Override PartName="/ppt/tags/tag2412.xml" ContentType="application/vnd.openxmlformats-officedocument.presentationml.tags+xml"/>
  <Override PartName="/ppt/tags/tag2413.xml" ContentType="application/vnd.openxmlformats-officedocument.presentationml.tags+xml"/>
  <Override PartName="/ppt/tags/tag2414.xml" ContentType="application/vnd.openxmlformats-officedocument.presentationml.tags+xml"/>
  <Override PartName="/ppt/tags/tag2415.xml" ContentType="application/vnd.openxmlformats-officedocument.presentationml.tags+xml"/>
  <Override PartName="/ppt/tags/tag2416.xml" ContentType="application/vnd.openxmlformats-officedocument.presentationml.tags+xml"/>
  <Override PartName="/ppt/tags/tag2417.xml" ContentType="application/vnd.openxmlformats-officedocument.presentationml.tags+xml"/>
  <Override PartName="/ppt/tags/tag2418.xml" ContentType="application/vnd.openxmlformats-officedocument.presentationml.tags+xml"/>
  <Override PartName="/ppt/tags/tag2419.xml" ContentType="application/vnd.openxmlformats-officedocument.presentationml.tags+xml"/>
  <Override PartName="/ppt/tags/tag2420.xml" ContentType="application/vnd.openxmlformats-officedocument.presentationml.tags+xml"/>
  <Override PartName="/ppt/tags/tag2421.xml" ContentType="application/vnd.openxmlformats-officedocument.presentationml.tags+xml"/>
  <Override PartName="/ppt/tags/tag2422.xml" ContentType="application/vnd.openxmlformats-officedocument.presentationml.tags+xml"/>
  <Override PartName="/ppt/tags/tag2423.xml" ContentType="application/vnd.openxmlformats-officedocument.presentationml.tags+xml"/>
  <Override PartName="/ppt/tags/tag2424.xml" ContentType="application/vnd.openxmlformats-officedocument.presentationml.tags+xml"/>
  <Override PartName="/ppt/tags/tag2425.xml" ContentType="application/vnd.openxmlformats-officedocument.presentationml.tags+xml"/>
  <Override PartName="/ppt/tags/tag2426.xml" ContentType="application/vnd.openxmlformats-officedocument.presentationml.tags+xml"/>
  <Override PartName="/ppt/tags/tag2427.xml" ContentType="application/vnd.openxmlformats-officedocument.presentationml.tags+xml"/>
  <Override PartName="/ppt/tags/tag2428.xml" ContentType="application/vnd.openxmlformats-officedocument.presentationml.tags+xml"/>
  <Override PartName="/ppt/tags/tag2429.xml" ContentType="application/vnd.openxmlformats-officedocument.presentationml.tags+xml"/>
  <Override PartName="/ppt/tags/tag2430.xml" ContentType="application/vnd.openxmlformats-officedocument.presentationml.tags+xml"/>
  <Override PartName="/ppt/tags/tag2431.xml" ContentType="application/vnd.openxmlformats-officedocument.presentationml.tags+xml"/>
  <Override PartName="/ppt/tags/tag2432.xml" ContentType="application/vnd.openxmlformats-officedocument.presentationml.tags+xml"/>
  <Override PartName="/ppt/tags/tag2433.xml" ContentType="application/vnd.openxmlformats-officedocument.presentationml.tags+xml"/>
  <Override PartName="/ppt/tags/tag2434.xml" ContentType="application/vnd.openxmlformats-officedocument.presentationml.tags+xml"/>
  <Override PartName="/ppt/tags/tag2435.xml" ContentType="application/vnd.openxmlformats-officedocument.presentationml.tags+xml"/>
  <Override PartName="/ppt/tags/tag2436.xml" ContentType="application/vnd.openxmlformats-officedocument.presentationml.tags+xml"/>
  <Override PartName="/ppt/tags/tag2437.xml" ContentType="application/vnd.openxmlformats-officedocument.presentationml.tags+xml"/>
  <Override PartName="/ppt/tags/tag2438.xml" ContentType="application/vnd.openxmlformats-officedocument.presentationml.tags+xml"/>
  <Override PartName="/ppt/tags/tag2439.xml" ContentType="application/vnd.openxmlformats-officedocument.presentationml.tags+xml"/>
  <Override PartName="/ppt/tags/tag2440.xml" ContentType="application/vnd.openxmlformats-officedocument.presentationml.tags+xml"/>
  <Override PartName="/ppt/tags/tag2441.xml" ContentType="application/vnd.openxmlformats-officedocument.presentationml.tags+xml"/>
  <Override PartName="/ppt/tags/tag2442.xml" ContentType="application/vnd.openxmlformats-officedocument.presentationml.tags+xml"/>
  <Override PartName="/ppt/tags/tag2443.xml" ContentType="application/vnd.openxmlformats-officedocument.presentationml.tags+xml"/>
  <Override PartName="/ppt/tags/tag2444.xml" ContentType="application/vnd.openxmlformats-officedocument.presentationml.tags+xml"/>
  <Override PartName="/ppt/tags/tag2445.xml" ContentType="application/vnd.openxmlformats-officedocument.presentationml.tags+xml"/>
  <Override PartName="/ppt/tags/tag2446.xml" ContentType="application/vnd.openxmlformats-officedocument.presentationml.tags+xml"/>
  <Override PartName="/ppt/tags/tag2447.xml" ContentType="application/vnd.openxmlformats-officedocument.presentationml.tags+xml"/>
  <Override PartName="/ppt/tags/tag2448.xml" ContentType="application/vnd.openxmlformats-officedocument.presentationml.tags+xml"/>
  <Override PartName="/ppt/tags/tag2449.xml" ContentType="application/vnd.openxmlformats-officedocument.presentationml.tags+xml"/>
  <Override PartName="/ppt/tags/tag2450.xml" ContentType="application/vnd.openxmlformats-officedocument.presentationml.tags+xml"/>
  <Override PartName="/ppt/tags/tag2451.xml" ContentType="application/vnd.openxmlformats-officedocument.presentationml.tags+xml"/>
  <Override PartName="/ppt/tags/tag2452.xml" ContentType="application/vnd.openxmlformats-officedocument.presentationml.tags+xml"/>
  <Override PartName="/ppt/tags/tag2453.xml" ContentType="application/vnd.openxmlformats-officedocument.presentationml.tags+xml"/>
  <Override PartName="/ppt/tags/tag2454.xml" ContentType="application/vnd.openxmlformats-officedocument.presentationml.tags+xml"/>
  <Override PartName="/ppt/tags/tag2455.xml" ContentType="application/vnd.openxmlformats-officedocument.presentationml.tags+xml"/>
  <Override PartName="/ppt/tags/tag2456.xml" ContentType="application/vnd.openxmlformats-officedocument.presentationml.tags+xml"/>
  <Override PartName="/ppt/tags/tag2457.xml" ContentType="application/vnd.openxmlformats-officedocument.presentationml.tags+xml"/>
  <Override PartName="/ppt/tags/tag2458.xml" ContentType="application/vnd.openxmlformats-officedocument.presentationml.tags+xml"/>
  <Override PartName="/ppt/tags/tag2459.xml" ContentType="application/vnd.openxmlformats-officedocument.presentationml.tags+xml"/>
  <Override PartName="/ppt/tags/tag2460.xml" ContentType="application/vnd.openxmlformats-officedocument.presentationml.tags+xml"/>
  <Override PartName="/ppt/tags/tag2461.xml" ContentType="application/vnd.openxmlformats-officedocument.presentationml.tags+xml"/>
  <Override PartName="/ppt/tags/tag2462.xml" ContentType="application/vnd.openxmlformats-officedocument.presentationml.tags+xml"/>
  <Override PartName="/ppt/tags/tag2463.xml" ContentType="application/vnd.openxmlformats-officedocument.presentationml.tags+xml"/>
  <Override PartName="/ppt/tags/tag2464.xml" ContentType="application/vnd.openxmlformats-officedocument.presentationml.tags+xml"/>
  <Override PartName="/ppt/tags/tag2465.xml" ContentType="application/vnd.openxmlformats-officedocument.presentationml.tags+xml"/>
  <Override PartName="/ppt/tags/tag2466.xml" ContentType="application/vnd.openxmlformats-officedocument.presentationml.tags+xml"/>
  <Override PartName="/ppt/tags/tag2467.xml" ContentType="application/vnd.openxmlformats-officedocument.presentationml.tags+xml"/>
  <Override PartName="/ppt/tags/tag2468.xml" ContentType="application/vnd.openxmlformats-officedocument.presentationml.tags+xml"/>
  <Override PartName="/ppt/tags/tag2469.xml" ContentType="application/vnd.openxmlformats-officedocument.presentationml.tags+xml"/>
  <Override PartName="/ppt/tags/tag2470.xml" ContentType="application/vnd.openxmlformats-officedocument.presentationml.tags+xml"/>
  <Override PartName="/ppt/tags/tag2471.xml" ContentType="application/vnd.openxmlformats-officedocument.presentationml.tags+xml"/>
  <Override PartName="/ppt/tags/tag2472.xml" ContentType="application/vnd.openxmlformats-officedocument.presentationml.tags+xml"/>
  <Override PartName="/ppt/tags/tag2473.xml" ContentType="application/vnd.openxmlformats-officedocument.presentationml.tags+xml"/>
  <Override PartName="/ppt/tags/tag2474.xml" ContentType="application/vnd.openxmlformats-officedocument.presentationml.tags+xml"/>
  <Override PartName="/ppt/tags/tag2475.xml" ContentType="application/vnd.openxmlformats-officedocument.presentationml.tags+xml"/>
  <Override PartName="/ppt/tags/tag2476.xml" ContentType="application/vnd.openxmlformats-officedocument.presentationml.tags+xml"/>
  <Override PartName="/ppt/tags/tag2477.xml" ContentType="application/vnd.openxmlformats-officedocument.presentationml.tags+xml"/>
  <Override PartName="/ppt/tags/tag2478.xml" ContentType="application/vnd.openxmlformats-officedocument.presentationml.tags+xml"/>
  <Override PartName="/ppt/tags/tag2479.xml" ContentType="application/vnd.openxmlformats-officedocument.presentationml.tags+xml"/>
  <Override PartName="/ppt/tags/tag2480.xml" ContentType="application/vnd.openxmlformats-officedocument.presentationml.tags+xml"/>
  <Override PartName="/ppt/tags/tag2481.xml" ContentType="application/vnd.openxmlformats-officedocument.presentationml.tags+xml"/>
  <Override PartName="/ppt/tags/tag2482.xml" ContentType="application/vnd.openxmlformats-officedocument.presentationml.tags+xml"/>
  <Override PartName="/ppt/tags/tag2483.xml" ContentType="application/vnd.openxmlformats-officedocument.presentationml.tags+xml"/>
  <Override PartName="/ppt/tags/tag2484.xml" ContentType="application/vnd.openxmlformats-officedocument.presentationml.tags+xml"/>
  <Override PartName="/ppt/tags/tag2485.xml" ContentType="application/vnd.openxmlformats-officedocument.presentationml.tags+xml"/>
  <Override PartName="/ppt/tags/tag2486.xml" ContentType="application/vnd.openxmlformats-officedocument.presentationml.tags+xml"/>
  <Override PartName="/ppt/tags/tag2487.xml" ContentType="application/vnd.openxmlformats-officedocument.presentationml.tags+xml"/>
  <Override PartName="/ppt/tags/tag2488.xml" ContentType="application/vnd.openxmlformats-officedocument.presentationml.tags+xml"/>
  <Override PartName="/ppt/tags/tag2489.xml" ContentType="application/vnd.openxmlformats-officedocument.presentationml.tags+xml"/>
  <Override PartName="/ppt/tags/tag2490.xml" ContentType="application/vnd.openxmlformats-officedocument.presentationml.tags+xml"/>
  <Override PartName="/ppt/tags/tag2491.xml" ContentType="application/vnd.openxmlformats-officedocument.presentationml.tags+xml"/>
  <Override PartName="/ppt/tags/tag2492.xml" ContentType="application/vnd.openxmlformats-officedocument.presentationml.tags+xml"/>
  <Override PartName="/ppt/tags/tag2493.xml" ContentType="application/vnd.openxmlformats-officedocument.presentationml.tags+xml"/>
  <Override PartName="/ppt/tags/tag2494.xml" ContentType="application/vnd.openxmlformats-officedocument.presentationml.tags+xml"/>
  <Override PartName="/ppt/tags/tag2495.xml" ContentType="application/vnd.openxmlformats-officedocument.presentationml.tags+xml"/>
  <Override PartName="/ppt/tags/tag2496.xml" ContentType="application/vnd.openxmlformats-officedocument.presentationml.tags+xml"/>
  <Override PartName="/ppt/tags/tag2497.xml" ContentType="application/vnd.openxmlformats-officedocument.presentationml.tags+xml"/>
  <Override PartName="/ppt/tags/tag2498.xml" ContentType="application/vnd.openxmlformats-officedocument.presentationml.tags+xml"/>
  <Override PartName="/ppt/tags/tag2499.xml" ContentType="application/vnd.openxmlformats-officedocument.presentationml.tags+xml"/>
  <Override PartName="/ppt/tags/tag2500.xml" ContentType="application/vnd.openxmlformats-officedocument.presentationml.tags+xml"/>
  <Override PartName="/ppt/tags/tag2501.xml" ContentType="application/vnd.openxmlformats-officedocument.presentationml.tags+xml"/>
  <Override PartName="/ppt/tags/tag2502.xml" ContentType="application/vnd.openxmlformats-officedocument.presentationml.tags+xml"/>
  <Override PartName="/ppt/tags/tag2503.xml" ContentType="application/vnd.openxmlformats-officedocument.presentationml.tags+xml"/>
  <Override PartName="/ppt/tags/tag2504.xml" ContentType="application/vnd.openxmlformats-officedocument.presentationml.tags+xml"/>
  <Override PartName="/ppt/tags/tag2505.xml" ContentType="application/vnd.openxmlformats-officedocument.presentationml.tags+xml"/>
  <Override PartName="/ppt/tags/tag2506.xml" ContentType="application/vnd.openxmlformats-officedocument.presentationml.tags+xml"/>
  <Override PartName="/ppt/tags/tag2507.xml" ContentType="application/vnd.openxmlformats-officedocument.presentationml.tags+xml"/>
  <Override PartName="/ppt/tags/tag2508.xml" ContentType="application/vnd.openxmlformats-officedocument.presentationml.tags+xml"/>
  <Override PartName="/ppt/tags/tag2509.xml" ContentType="application/vnd.openxmlformats-officedocument.presentationml.tags+xml"/>
  <Override PartName="/ppt/tags/tag2510.xml" ContentType="application/vnd.openxmlformats-officedocument.presentationml.tags+xml"/>
  <Override PartName="/ppt/tags/tag2511.xml" ContentType="application/vnd.openxmlformats-officedocument.presentationml.tags+xml"/>
  <Override PartName="/ppt/tags/tag2512.xml" ContentType="application/vnd.openxmlformats-officedocument.presentationml.tags+xml"/>
  <Override PartName="/ppt/tags/tag2513.xml" ContentType="application/vnd.openxmlformats-officedocument.presentationml.tags+xml"/>
  <Override PartName="/ppt/tags/tag2514.xml" ContentType="application/vnd.openxmlformats-officedocument.presentationml.tags+xml"/>
  <Override PartName="/ppt/tags/tag2515.xml" ContentType="application/vnd.openxmlformats-officedocument.presentationml.tags+xml"/>
  <Override PartName="/ppt/tags/tag2516.xml" ContentType="application/vnd.openxmlformats-officedocument.presentationml.tags+xml"/>
  <Override PartName="/ppt/tags/tag2517.xml" ContentType="application/vnd.openxmlformats-officedocument.presentationml.tags+xml"/>
  <Override PartName="/ppt/tags/tag2518.xml" ContentType="application/vnd.openxmlformats-officedocument.presentationml.tags+xml"/>
  <Override PartName="/ppt/tags/tag2519.xml" ContentType="application/vnd.openxmlformats-officedocument.presentationml.tags+xml"/>
  <Override PartName="/ppt/tags/tag2520.xml" ContentType="application/vnd.openxmlformats-officedocument.presentationml.tags+xml"/>
  <Override PartName="/ppt/tags/tag2521.xml" ContentType="application/vnd.openxmlformats-officedocument.presentationml.tags+xml"/>
  <Override PartName="/ppt/tags/tag2522.xml" ContentType="application/vnd.openxmlformats-officedocument.presentationml.tags+xml"/>
  <Override PartName="/ppt/tags/tag2523.xml" ContentType="application/vnd.openxmlformats-officedocument.presentationml.tags+xml"/>
  <Override PartName="/ppt/tags/tag2524.xml" ContentType="application/vnd.openxmlformats-officedocument.presentationml.tags+xml"/>
  <Override PartName="/ppt/tags/tag2525.xml" ContentType="application/vnd.openxmlformats-officedocument.presentationml.tags+xml"/>
  <Override PartName="/ppt/tags/tag2526.xml" ContentType="application/vnd.openxmlformats-officedocument.presentationml.tags+xml"/>
  <Override PartName="/ppt/tags/tag2527.xml" ContentType="application/vnd.openxmlformats-officedocument.presentationml.tags+xml"/>
  <Override PartName="/ppt/tags/tag2528.xml" ContentType="application/vnd.openxmlformats-officedocument.presentationml.tags+xml"/>
  <Override PartName="/ppt/tags/tag2529.xml" ContentType="application/vnd.openxmlformats-officedocument.presentationml.tags+xml"/>
  <Override PartName="/ppt/tags/tag2530.xml" ContentType="application/vnd.openxmlformats-officedocument.presentationml.tags+xml"/>
  <Override PartName="/ppt/tags/tag2531.xml" ContentType="application/vnd.openxmlformats-officedocument.presentationml.tags+xml"/>
  <Override PartName="/ppt/tags/tag2532.xml" ContentType="application/vnd.openxmlformats-officedocument.presentationml.tags+xml"/>
  <Override PartName="/ppt/tags/tag2533.xml" ContentType="application/vnd.openxmlformats-officedocument.presentationml.tags+xml"/>
  <Override PartName="/ppt/tags/tag2534.xml" ContentType="application/vnd.openxmlformats-officedocument.presentationml.tags+xml"/>
  <Override PartName="/ppt/tags/tag2535.xml" ContentType="application/vnd.openxmlformats-officedocument.presentationml.tags+xml"/>
  <Override PartName="/ppt/tags/tag2536.xml" ContentType="application/vnd.openxmlformats-officedocument.presentationml.tags+xml"/>
  <Override PartName="/ppt/tags/tag2537.xml" ContentType="application/vnd.openxmlformats-officedocument.presentationml.tags+xml"/>
  <Override PartName="/ppt/tags/tag2538.xml" ContentType="application/vnd.openxmlformats-officedocument.presentationml.tags+xml"/>
  <Override PartName="/ppt/tags/tag2539.xml" ContentType="application/vnd.openxmlformats-officedocument.presentationml.tags+xml"/>
  <Override PartName="/ppt/tags/tag2540.xml" ContentType="application/vnd.openxmlformats-officedocument.presentationml.tags+xml"/>
  <Override PartName="/ppt/tags/tag2541.xml" ContentType="application/vnd.openxmlformats-officedocument.presentationml.tags+xml"/>
  <Override PartName="/ppt/tags/tag2542.xml" ContentType="application/vnd.openxmlformats-officedocument.presentationml.tags+xml"/>
  <Override PartName="/ppt/tags/tag2543.xml" ContentType="application/vnd.openxmlformats-officedocument.presentationml.tags+xml"/>
  <Override PartName="/ppt/tags/tag2544.xml" ContentType="application/vnd.openxmlformats-officedocument.presentationml.tags+xml"/>
  <Override PartName="/ppt/tags/tag2545.xml" ContentType="application/vnd.openxmlformats-officedocument.presentationml.tags+xml"/>
  <Override PartName="/ppt/tags/tag2546.xml" ContentType="application/vnd.openxmlformats-officedocument.presentationml.tags+xml"/>
  <Override PartName="/ppt/tags/tag2547.xml" ContentType="application/vnd.openxmlformats-officedocument.presentationml.tags+xml"/>
  <Override PartName="/ppt/tags/tag2548.xml" ContentType="application/vnd.openxmlformats-officedocument.presentationml.tags+xml"/>
  <Override PartName="/ppt/tags/tag2549.xml" ContentType="application/vnd.openxmlformats-officedocument.presentationml.tags+xml"/>
  <Override PartName="/ppt/tags/tag2550.xml" ContentType="application/vnd.openxmlformats-officedocument.presentationml.tags+xml"/>
  <Override PartName="/ppt/tags/tag2551.xml" ContentType="application/vnd.openxmlformats-officedocument.presentationml.tags+xml"/>
  <Override PartName="/ppt/tags/tag2552.xml" ContentType="application/vnd.openxmlformats-officedocument.presentationml.tags+xml"/>
  <Override PartName="/ppt/tags/tag2553.xml" ContentType="application/vnd.openxmlformats-officedocument.presentationml.tags+xml"/>
  <Override PartName="/ppt/tags/tag2554.xml" ContentType="application/vnd.openxmlformats-officedocument.presentationml.tags+xml"/>
  <Override PartName="/ppt/tags/tag2555.xml" ContentType="application/vnd.openxmlformats-officedocument.presentationml.tags+xml"/>
  <Override PartName="/ppt/tags/tag2556.xml" ContentType="application/vnd.openxmlformats-officedocument.presentationml.tags+xml"/>
  <Override PartName="/ppt/tags/tag2557.xml" ContentType="application/vnd.openxmlformats-officedocument.presentationml.tags+xml"/>
  <Override PartName="/ppt/tags/tag2558.xml" ContentType="application/vnd.openxmlformats-officedocument.presentationml.tags+xml"/>
  <Override PartName="/ppt/tags/tag2559.xml" ContentType="application/vnd.openxmlformats-officedocument.presentationml.tags+xml"/>
  <Override PartName="/ppt/tags/tag2560.xml" ContentType="application/vnd.openxmlformats-officedocument.presentationml.tags+xml"/>
  <Override PartName="/ppt/tags/tag2561.xml" ContentType="application/vnd.openxmlformats-officedocument.presentationml.tags+xml"/>
  <Override PartName="/ppt/tags/tag2562.xml" ContentType="application/vnd.openxmlformats-officedocument.presentationml.tags+xml"/>
  <Override PartName="/ppt/tags/tag2563.xml" ContentType="application/vnd.openxmlformats-officedocument.presentationml.tags+xml"/>
  <Override PartName="/ppt/tags/tag2564.xml" ContentType="application/vnd.openxmlformats-officedocument.presentationml.tags+xml"/>
  <Override PartName="/ppt/tags/tag2565.xml" ContentType="application/vnd.openxmlformats-officedocument.presentationml.tags+xml"/>
  <Override PartName="/ppt/tags/tag2566.xml" ContentType="application/vnd.openxmlformats-officedocument.presentationml.tags+xml"/>
  <Override PartName="/ppt/tags/tag2567.xml" ContentType="application/vnd.openxmlformats-officedocument.presentationml.tags+xml"/>
  <Override PartName="/ppt/tags/tag2568.xml" ContentType="application/vnd.openxmlformats-officedocument.presentationml.tags+xml"/>
  <Override PartName="/ppt/tags/tag2569.xml" ContentType="application/vnd.openxmlformats-officedocument.presentationml.tags+xml"/>
  <Override PartName="/ppt/tags/tag2570.xml" ContentType="application/vnd.openxmlformats-officedocument.presentationml.tags+xml"/>
  <Override PartName="/ppt/tags/tag2571.xml" ContentType="application/vnd.openxmlformats-officedocument.presentationml.tags+xml"/>
  <Override PartName="/ppt/tags/tag2572.xml" ContentType="application/vnd.openxmlformats-officedocument.presentationml.tags+xml"/>
  <Override PartName="/ppt/tags/tag2573.xml" ContentType="application/vnd.openxmlformats-officedocument.presentationml.tags+xml"/>
  <Override PartName="/ppt/tags/tag2574.xml" ContentType="application/vnd.openxmlformats-officedocument.presentationml.tags+xml"/>
  <Override PartName="/ppt/tags/tag2575.xml" ContentType="application/vnd.openxmlformats-officedocument.presentationml.tags+xml"/>
  <Override PartName="/ppt/tags/tag2576.xml" ContentType="application/vnd.openxmlformats-officedocument.presentationml.tags+xml"/>
  <Override PartName="/ppt/tags/tag2577.xml" ContentType="application/vnd.openxmlformats-officedocument.presentationml.tags+xml"/>
  <Override PartName="/ppt/tags/tag2578.xml" ContentType="application/vnd.openxmlformats-officedocument.presentationml.tags+xml"/>
  <Override PartName="/ppt/tags/tag2579.xml" ContentType="application/vnd.openxmlformats-officedocument.presentationml.tags+xml"/>
  <Override PartName="/ppt/tags/tag2580.xml" ContentType="application/vnd.openxmlformats-officedocument.presentationml.tags+xml"/>
  <Override PartName="/ppt/tags/tag2581.xml" ContentType="application/vnd.openxmlformats-officedocument.presentationml.tags+xml"/>
  <Override PartName="/ppt/tags/tag2582.xml" ContentType="application/vnd.openxmlformats-officedocument.presentationml.tags+xml"/>
  <Override PartName="/ppt/tags/tag2583.xml" ContentType="application/vnd.openxmlformats-officedocument.presentationml.tags+xml"/>
  <Override PartName="/ppt/tags/tag2584.xml" ContentType="application/vnd.openxmlformats-officedocument.presentationml.tags+xml"/>
  <Override PartName="/ppt/tags/tag2585.xml" ContentType="application/vnd.openxmlformats-officedocument.presentationml.tags+xml"/>
  <Override PartName="/ppt/tags/tag2586.xml" ContentType="application/vnd.openxmlformats-officedocument.presentationml.tags+xml"/>
  <Override PartName="/ppt/tags/tag2587.xml" ContentType="application/vnd.openxmlformats-officedocument.presentationml.tags+xml"/>
  <Override PartName="/ppt/tags/tag2588.xml" ContentType="application/vnd.openxmlformats-officedocument.presentationml.tags+xml"/>
  <Override PartName="/ppt/tags/tag2589.xml" ContentType="application/vnd.openxmlformats-officedocument.presentationml.tags+xml"/>
  <Override PartName="/ppt/tags/tag2590.xml" ContentType="application/vnd.openxmlformats-officedocument.presentationml.tags+xml"/>
  <Override PartName="/ppt/tags/tag2591.xml" ContentType="application/vnd.openxmlformats-officedocument.presentationml.tags+xml"/>
  <Override PartName="/ppt/tags/tag2592.xml" ContentType="application/vnd.openxmlformats-officedocument.presentationml.tags+xml"/>
  <Override PartName="/ppt/tags/tag2593.xml" ContentType="application/vnd.openxmlformats-officedocument.presentationml.tags+xml"/>
  <Override PartName="/ppt/tags/tag2594.xml" ContentType="application/vnd.openxmlformats-officedocument.presentationml.tags+xml"/>
  <Override PartName="/ppt/tags/tag2595.xml" ContentType="application/vnd.openxmlformats-officedocument.presentationml.tags+xml"/>
  <Override PartName="/ppt/tags/tag2596.xml" ContentType="application/vnd.openxmlformats-officedocument.presentationml.tags+xml"/>
  <Override PartName="/ppt/tags/tag2597.xml" ContentType="application/vnd.openxmlformats-officedocument.presentationml.tags+xml"/>
  <Override PartName="/ppt/tags/tag2598.xml" ContentType="application/vnd.openxmlformats-officedocument.presentationml.tags+xml"/>
  <Override PartName="/ppt/tags/tag2599.xml" ContentType="application/vnd.openxmlformats-officedocument.presentationml.tags+xml"/>
  <Override PartName="/ppt/tags/tag2600.xml" ContentType="application/vnd.openxmlformats-officedocument.presentationml.tags+xml"/>
  <Override PartName="/ppt/tags/tag2601.xml" ContentType="application/vnd.openxmlformats-officedocument.presentationml.tags+xml"/>
  <Override PartName="/ppt/tags/tag2602.xml" ContentType="application/vnd.openxmlformats-officedocument.presentationml.tags+xml"/>
  <Override PartName="/ppt/tags/tag2603.xml" ContentType="application/vnd.openxmlformats-officedocument.presentationml.tags+xml"/>
  <Override PartName="/ppt/tags/tag2604.xml" ContentType="application/vnd.openxmlformats-officedocument.presentationml.tags+xml"/>
  <Override PartName="/ppt/tags/tag2605.xml" ContentType="application/vnd.openxmlformats-officedocument.presentationml.tags+xml"/>
  <Override PartName="/ppt/tags/tag2606.xml" ContentType="application/vnd.openxmlformats-officedocument.presentationml.tags+xml"/>
  <Override PartName="/ppt/tags/tag2607.xml" ContentType="application/vnd.openxmlformats-officedocument.presentationml.tags+xml"/>
  <Override PartName="/ppt/tags/tag2608.xml" ContentType="application/vnd.openxmlformats-officedocument.presentationml.tags+xml"/>
  <Override PartName="/ppt/tags/tag2609.xml" ContentType="application/vnd.openxmlformats-officedocument.presentationml.tags+xml"/>
  <Override PartName="/ppt/tags/tag2610.xml" ContentType="application/vnd.openxmlformats-officedocument.presentationml.tags+xml"/>
  <Override PartName="/ppt/tags/tag2611.xml" ContentType="application/vnd.openxmlformats-officedocument.presentationml.tags+xml"/>
  <Override PartName="/ppt/tags/tag2612.xml" ContentType="application/vnd.openxmlformats-officedocument.presentationml.tags+xml"/>
  <Override PartName="/ppt/tags/tag2613.xml" ContentType="application/vnd.openxmlformats-officedocument.presentationml.tags+xml"/>
  <Override PartName="/ppt/tags/tag2614.xml" ContentType="application/vnd.openxmlformats-officedocument.presentationml.tags+xml"/>
  <Override PartName="/ppt/tags/tag2615.xml" ContentType="application/vnd.openxmlformats-officedocument.presentationml.tags+xml"/>
  <Override PartName="/ppt/tags/tag2616.xml" ContentType="application/vnd.openxmlformats-officedocument.presentationml.tags+xml"/>
  <Override PartName="/ppt/tags/tag2617.xml" ContentType="application/vnd.openxmlformats-officedocument.presentationml.tags+xml"/>
  <Override PartName="/ppt/tags/tag2618.xml" ContentType="application/vnd.openxmlformats-officedocument.presentationml.tags+xml"/>
  <Override PartName="/ppt/tags/tag2619.xml" ContentType="application/vnd.openxmlformats-officedocument.presentationml.tags+xml"/>
  <Override PartName="/ppt/tags/tag2620.xml" ContentType="application/vnd.openxmlformats-officedocument.presentationml.tags+xml"/>
  <Override PartName="/ppt/tags/tag2621.xml" ContentType="application/vnd.openxmlformats-officedocument.presentationml.tags+xml"/>
  <Override PartName="/ppt/tags/tag2622.xml" ContentType="application/vnd.openxmlformats-officedocument.presentationml.tags+xml"/>
  <Override PartName="/ppt/tags/tag2623.xml" ContentType="application/vnd.openxmlformats-officedocument.presentationml.tags+xml"/>
  <Override PartName="/ppt/tags/tag2624.xml" ContentType="application/vnd.openxmlformats-officedocument.presentationml.tags+xml"/>
  <Override PartName="/ppt/tags/tag2625.xml" ContentType="application/vnd.openxmlformats-officedocument.presentationml.tags+xml"/>
  <Override PartName="/ppt/tags/tag2626.xml" ContentType="application/vnd.openxmlformats-officedocument.presentationml.tags+xml"/>
  <Override PartName="/ppt/tags/tag2627.xml" ContentType="application/vnd.openxmlformats-officedocument.presentationml.tags+xml"/>
  <Override PartName="/ppt/tags/tag2628.xml" ContentType="application/vnd.openxmlformats-officedocument.presentationml.tags+xml"/>
  <Override PartName="/ppt/tags/tag2629.xml" ContentType="application/vnd.openxmlformats-officedocument.presentationml.tags+xml"/>
  <Override PartName="/ppt/tags/tag2630.xml" ContentType="application/vnd.openxmlformats-officedocument.presentationml.tags+xml"/>
  <Override PartName="/ppt/tags/tag2631.xml" ContentType="application/vnd.openxmlformats-officedocument.presentationml.tags+xml"/>
  <Override PartName="/ppt/tags/tag2632.xml" ContentType="application/vnd.openxmlformats-officedocument.presentationml.tags+xml"/>
  <Override PartName="/ppt/tags/tag2633.xml" ContentType="application/vnd.openxmlformats-officedocument.presentationml.tags+xml"/>
  <Override PartName="/ppt/tags/tag2634.xml" ContentType="application/vnd.openxmlformats-officedocument.presentationml.tags+xml"/>
  <Override PartName="/ppt/tags/tag2635.xml" ContentType="application/vnd.openxmlformats-officedocument.presentationml.tags+xml"/>
  <Override PartName="/ppt/tags/tag2636.xml" ContentType="application/vnd.openxmlformats-officedocument.presentationml.tags+xml"/>
  <Override PartName="/ppt/tags/tag2637.xml" ContentType="application/vnd.openxmlformats-officedocument.presentationml.tags+xml"/>
  <Override PartName="/ppt/tags/tag2638.xml" ContentType="application/vnd.openxmlformats-officedocument.presentationml.tags+xml"/>
  <Override PartName="/ppt/tags/tag2639.xml" ContentType="application/vnd.openxmlformats-officedocument.presentationml.tags+xml"/>
  <Override PartName="/ppt/tags/tag2640.xml" ContentType="application/vnd.openxmlformats-officedocument.presentationml.tags+xml"/>
  <Override PartName="/ppt/tags/tag2641.xml" ContentType="application/vnd.openxmlformats-officedocument.presentationml.tags+xml"/>
  <Override PartName="/ppt/tags/tag2642.xml" ContentType="application/vnd.openxmlformats-officedocument.presentationml.tags+xml"/>
  <Override PartName="/ppt/tags/tag2643.xml" ContentType="application/vnd.openxmlformats-officedocument.presentationml.tags+xml"/>
  <Override PartName="/ppt/tags/tag2644.xml" ContentType="application/vnd.openxmlformats-officedocument.presentationml.tags+xml"/>
  <Override PartName="/ppt/tags/tag2645.xml" ContentType="application/vnd.openxmlformats-officedocument.presentationml.tags+xml"/>
  <Override PartName="/ppt/tags/tag2646.xml" ContentType="application/vnd.openxmlformats-officedocument.presentationml.tags+xml"/>
  <Override PartName="/ppt/tags/tag2647.xml" ContentType="application/vnd.openxmlformats-officedocument.presentationml.tags+xml"/>
  <Override PartName="/ppt/tags/tag2648.xml" ContentType="application/vnd.openxmlformats-officedocument.presentationml.tags+xml"/>
  <Override PartName="/ppt/tags/tag2649.xml" ContentType="application/vnd.openxmlformats-officedocument.presentationml.tags+xml"/>
  <Override PartName="/ppt/tags/tag2650.xml" ContentType="application/vnd.openxmlformats-officedocument.presentationml.tags+xml"/>
  <Override PartName="/ppt/tags/tag2651.xml" ContentType="application/vnd.openxmlformats-officedocument.presentationml.tags+xml"/>
  <Override PartName="/ppt/tags/tag2652.xml" ContentType="application/vnd.openxmlformats-officedocument.presentationml.tags+xml"/>
  <Override PartName="/ppt/tags/tag2653.xml" ContentType="application/vnd.openxmlformats-officedocument.presentationml.tags+xml"/>
  <Override PartName="/ppt/tags/tag2654.xml" ContentType="application/vnd.openxmlformats-officedocument.presentationml.tags+xml"/>
  <Override PartName="/ppt/tags/tag2655.xml" ContentType="application/vnd.openxmlformats-officedocument.presentationml.tags+xml"/>
  <Override PartName="/ppt/tags/tag2656.xml" ContentType="application/vnd.openxmlformats-officedocument.presentationml.tags+xml"/>
  <Override PartName="/ppt/tags/tag2657.xml" ContentType="application/vnd.openxmlformats-officedocument.presentationml.tags+xml"/>
  <Override PartName="/ppt/tags/tag2658.xml" ContentType="application/vnd.openxmlformats-officedocument.presentationml.tags+xml"/>
  <Override PartName="/ppt/tags/tag2659.xml" ContentType="application/vnd.openxmlformats-officedocument.presentationml.tags+xml"/>
  <Override PartName="/ppt/tags/tag2660.xml" ContentType="application/vnd.openxmlformats-officedocument.presentationml.tags+xml"/>
  <Override PartName="/ppt/tags/tag2661.xml" ContentType="application/vnd.openxmlformats-officedocument.presentationml.tags+xml"/>
  <Override PartName="/ppt/tags/tag2662.xml" ContentType="application/vnd.openxmlformats-officedocument.presentationml.tags+xml"/>
  <Override PartName="/ppt/tags/tag2663.xml" ContentType="application/vnd.openxmlformats-officedocument.presentationml.tags+xml"/>
  <Override PartName="/ppt/tags/tag2664.xml" ContentType="application/vnd.openxmlformats-officedocument.presentationml.tags+xml"/>
  <Override PartName="/ppt/tags/tag2665.xml" ContentType="application/vnd.openxmlformats-officedocument.presentationml.tags+xml"/>
  <Override PartName="/ppt/tags/tag2666.xml" ContentType="application/vnd.openxmlformats-officedocument.presentationml.tags+xml"/>
  <Override PartName="/ppt/tags/tag2667.xml" ContentType="application/vnd.openxmlformats-officedocument.presentationml.tags+xml"/>
  <Override PartName="/ppt/tags/tag2668.xml" ContentType="application/vnd.openxmlformats-officedocument.presentationml.tags+xml"/>
  <Override PartName="/ppt/tags/tag2669.xml" ContentType="application/vnd.openxmlformats-officedocument.presentationml.tags+xml"/>
  <Override PartName="/ppt/tags/tag2670.xml" ContentType="application/vnd.openxmlformats-officedocument.presentationml.tags+xml"/>
  <Override PartName="/ppt/tags/tag2671.xml" ContentType="application/vnd.openxmlformats-officedocument.presentationml.tags+xml"/>
  <Override PartName="/ppt/tags/tag2672.xml" ContentType="application/vnd.openxmlformats-officedocument.presentationml.tags+xml"/>
  <Override PartName="/ppt/tags/tag2673.xml" ContentType="application/vnd.openxmlformats-officedocument.presentationml.tags+xml"/>
  <Override PartName="/ppt/tags/tag2674.xml" ContentType="application/vnd.openxmlformats-officedocument.presentationml.tags+xml"/>
  <Override PartName="/ppt/tags/tag2675.xml" ContentType="application/vnd.openxmlformats-officedocument.presentationml.tags+xml"/>
  <Override PartName="/ppt/tags/tag2676.xml" ContentType="application/vnd.openxmlformats-officedocument.presentationml.tags+xml"/>
  <Override PartName="/ppt/tags/tag2677.xml" ContentType="application/vnd.openxmlformats-officedocument.presentationml.tags+xml"/>
  <Override PartName="/ppt/tags/tag2678.xml" ContentType="application/vnd.openxmlformats-officedocument.presentationml.tags+xml"/>
  <Override PartName="/ppt/tags/tag2679.xml" ContentType="application/vnd.openxmlformats-officedocument.presentationml.tags+xml"/>
  <Override PartName="/ppt/tags/tag2680.xml" ContentType="application/vnd.openxmlformats-officedocument.presentationml.tags+xml"/>
  <Override PartName="/ppt/tags/tag2681.xml" ContentType="application/vnd.openxmlformats-officedocument.presentationml.tags+xml"/>
  <Override PartName="/ppt/tags/tag2682.xml" ContentType="application/vnd.openxmlformats-officedocument.presentationml.tags+xml"/>
  <Override PartName="/ppt/tags/tag2683.xml" ContentType="application/vnd.openxmlformats-officedocument.presentationml.tags+xml"/>
  <Override PartName="/ppt/tags/tag2684.xml" ContentType="application/vnd.openxmlformats-officedocument.presentationml.tags+xml"/>
  <Override PartName="/ppt/tags/tag2685.xml" ContentType="application/vnd.openxmlformats-officedocument.presentationml.tags+xml"/>
  <Override PartName="/ppt/tags/tag2686.xml" ContentType="application/vnd.openxmlformats-officedocument.presentationml.tags+xml"/>
  <Override PartName="/ppt/tags/tag2687.xml" ContentType="application/vnd.openxmlformats-officedocument.presentationml.tags+xml"/>
  <Override PartName="/ppt/tags/tag2688.xml" ContentType="application/vnd.openxmlformats-officedocument.presentationml.tags+xml"/>
  <Override PartName="/ppt/tags/tag2689.xml" ContentType="application/vnd.openxmlformats-officedocument.presentationml.tags+xml"/>
  <Override PartName="/ppt/tags/tag2690.xml" ContentType="application/vnd.openxmlformats-officedocument.presentationml.tags+xml"/>
  <Override PartName="/ppt/tags/tag2691.xml" ContentType="application/vnd.openxmlformats-officedocument.presentationml.tags+xml"/>
  <Override PartName="/ppt/tags/tag2692.xml" ContentType="application/vnd.openxmlformats-officedocument.presentationml.tags+xml"/>
  <Override PartName="/ppt/tags/tag2693.xml" ContentType="application/vnd.openxmlformats-officedocument.presentationml.tags+xml"/>
  <Override PartName="/ppt/tags/tag2694.xml" ContentType="application/vnd.openxmlformats-officedocument.presentationml.tags+xml"/>
  <Override PartName="/ppt/tags/tag2695.xml" ContentType="application/vnd.openxmlformats-officedocument.presentationml.tags+xml"/>
  <Override PartName="/ppt/tags/tag2696.xml" ContentType="application/vnd.openxmlformats-officedocument.presentationml.tags+xml"/>
  <Override PartName="/ppt/tags/tag2697.xml" ContentType="application/vnd.openxmlformats-officedocument.presentationml.tags+xml"/>
  <Override PartName="/ppt/tags/tag2698.xml" ContentType="application/vnd.openxmlformats-officedocument.presentationml.tags+xml"/>
  <Override PartName="/ppt/tags/tag2699.xml" ContentType="application/vnd.openxmlformats-officedocument.presentationml.tags+xml"/>
  <Override PartName="/ppt/tags/tag2700.xml" ContentType="application/vnd.openxmlformats-officedocument.presentationml.tags+xml"/>
  <Override PartName="/ppt/tags/tag2701.xml" ContentType="application/vnd.openxmlformats-officedocument.presentationml.tags+xml"/>
  <Override PartName="/ppt/tags/tag2702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4.xml" ContentType="application/vnd.openxmlformats-officedocument.theme+xml"/>
  <Override PartName="/ppt/tags/tag2703.xml" ContentType="application/vnd.openxmlformats-officedocument.presentationml.tags+xml"/>
  <Override PartName="/ppt/tags/tag2704.xml" ContentType="application/vnd.openxmlformats-officedocument.presentationml.tags+xml"/>
  <Override PartName="/ppt/tags/tag2705.xml" ContentType="application/vnd.openxmlformats-officedocument.presentationml.tags+xml"/>
  <Override PartName="/ppt/tags/tag2706.xml" ContentType="application/vnd.openxmlformats-officedocument.presentationml.tags+xml"/>
  <Override PartName="/ppt/tags/tag2707.xml" ContentType="application/vnd.openxmlformats-officedocument.presentationml.tags+xml"/>
  <Override PartName="/ppt/tags/tag2708.xml" ContentType="application/vnd.openxmlformats-officedocument.presentationml.tags+xml"/>
  <Override PartName="/ppt/tags/tag2709.xml" ContentType="application/vnd.openxmlformats-officedocument.presentationml.tags+xml"/>
  <Override PartName="/ppt/tags/tag2710.xml" ContentType="application/vnd.openxmlformats-officedocument.presentationml.tags+xml"/>
  <Override PartName="/ppt/tags/tag2711.xml" ContentType="application/vnd.openxmlformats-officedocument.presentationml.tags+xml"/>
  <Override PartName="/ppt/tags/tag2712.xml" ContentType="application/vnd.openxmlformats-officedocument.presentationml.tags+xml"/>
  <Override PartName="/ppt/tags/tag2713.xml" ContentType="application/vnd.openxmlformats-officedocument.presentationml.tags+xml"/>
  <Override PartName="/ppt/tags/tag2714.xml" ContentType="application/vnd.openxmlformats-officedocument.presentationml.tags+xml"/>
  <Override PartName="/ppt/tags/tag2715.xml" ContentType="application/vnd.openxmlformats-officedocument.presentationml.tags+xml"/>
  <Override PartName="/ppt/tags/tag2716.xml" ContentType="application/vnd.openxmlformats-officedocument.presentationml.tags+xml"/>
  <Override PartName="/ppt/tags/tag2717.xml" ContentType="application/vnd.openxmlformats-officedocument.presentationml.tags+xml"/>
  <Override PartName="/ppt/tags/tag2718.xml" ContentType="application/vnd.openxmlformats-officedocument.presentationml.tags+xml"/>
  <Override PartName="/ppt/tags/tag2719.xml" ContentType="application/vnd.openxmlformats-officedocument.presentationml.tags+xml"/>
  <Override PartName="/ppt/tags/tag2720.xml" ContentType="application/vnd.openxmlformats-officedocument.presentationml.tags+xml"/>
  <Override PartName="/ppt/tags/tag2721.xml" ContentType="application/vnd.openxmlformats-officedocument.presentationml.tags+xml"/>
  <Override PartName="/ppt/tags/tag2722.xml" ContentType="application/vnd.openxmlformats-officedocument.presentationml.tags+xml"/>
  <Override PartName="/ppt/tags/tag2723.xml" ContentType="application/vnd.openxmlformats-officedocument.presentationml.tags+xml"/>
  <Override PartName="/ppt/tags/tag2724.xml" ContentType="application/vnd.openxmlformats-officedocument.presentationml.tags+xml"/>
  <Override PartName="/ppt/tags/tag2725.xml" ContentType="application/vnd.openxmlformats-officedocument.presentationml.tags+xml"/>
  <Override PartName="/ppt/tags/tag2726.xml" ContentType="application/vnd.openxmlformats-officedocument.presentationml.tags+xml"/>
  <Override PartName="/ppt/tags/tag2727.xml" ContentType="application/vnd.openxmlformats-officedocument.presentationml.tags+xml"/>
  <Override PartName="/ppt/tags/tag2728.xml" ContentType="application/vnd.openxmlformats-officedocument.presentationml.tags+xml"/>
  <Override PartName="/ppt/tags/tag2729.xml" ContentType="application/vnd.openxmlformats-officedocument.presentationml.tags+xml"/>
  <Override PartName="/ppt/tags/tag2730.xml" ContentType="application/vnd.openxmlformats-officedocument.presentationml.tags+xml"/>
  <Override PartName="/ppt/tags/tag2731.xml" ContentType="application/vnd.openxmlformats-officedocument.presentationml.tags+xml"/>
  <Override PartName="/ppt/tags/tag2732.xml" ContentType="application/vnd.openxmlformats-officedocument.presentationml.tags+xml"/>
  <Override PartName="/ppt/tags/tag2733.xml" ContentType="application/vnd.openxmlformats-officedocument.presentationml.tags+xml"/>
  <Override PartName="/ppt/tags/tag2734.xml" ContentType="application/vnd.openxmlformats-officedocument.presentationml.tags+xml"/>
  <Override PartName="/ppt/tags/tag2735.xml" ContentType="application/vnd.openxmlformats-officedocument.presentationml.tags+xml"/>
  <Override PartName="/ppt/tags/tag2736.xml" ContentType="application/vnd.openxmlformats-officedocument.presentationml.tags+xml"/>
  <Override PartName="/ppt/tags/tag2737.xml" ContentType="application/vnd.openxmlformats-officedocument.presentationml.tags+xml"/>
  <Override PartName="/ppt/tags/tag2738.xml" ContentType="application/vnd.openxmlformats-officedocument.presentationml.tags+xml"/>
  <Override PartName="/ppt/tags/tag2739.xml" ContentType="application/vnd.openxmlformats-officedocument.presentationml.tags+xml"/>
  <Override PartName="/ppt/tags/tag2740.xml" ContentType="application/vnd.openxmlformats-officedocument.presentationml.tags+xml"/>
  <Override PartName="/ppt/tags/tag2741.xml" ContentType="application/vnd.openxmlformats-officedocument.presentationml.tags+xml"/>
  <Override PartName="/ppt/tags/tag2742.xml" ContentType="application/vnd.openxmlformats-officedocument.presentationml.tags+xml"/>
  <Override PartName="/ppt/tags/tag2743.xml" ContentType="application/vnd.openxmlformats-officedocument.presentationml.tags+xml"/>
  <Override PartName="/ppt/tags/tag2744.xml" ContentType="application/vnd.openxmlformats-officedocument.presentationml.tags+xml"/>
  <Override PartName="/ppt/tags/tag2745.xml" ContentType="application/vnd.openxmlformats-officedocument.presentationml.tags+xml"/>
  <Override PartName="/ppt/tags/tag2746.xml" ContentType="application/vnd.openxmlformats-officedocument.presentationml.tags+xml"/>
  <Override PartName="/ppt/tags/tag2747.xml" ContentType="application/vnd.openxmlformats-officedocument.presentationml.tags+xml"/>
  <Override PartName="/ppt/tags/tag2748.xml" ContentType="application/vnd.openxmlformats-officedocument.presentationml.tags+xml"/>
  <Override PartName="/ppt/tags/tag2749.xml" ContentType="application/vnd.openxmlformats-officedocument.presentationml.tags+xml"/>
  <Override PartName="/ppt/tags/tag2750.xml" ContentType="application/vnd.openxmlformats-officedocument.presentationml.tags+xml"/>
  <Override PartName="/ppt/tags/tag2751.xml" ContentType="application/vnd.openxmlformats-officedocument.presentationml.tags+xml"/>
  <Override PartName="/ppt/tags/tag2752.xml" ContentType="application/vnd.openxmlformats-officedocument.presentationml.tags+xml"/>
  <Override PartName="/ppt/tags/tag2753.xml" ContentType="application/vnd.openxmlformats-officedocument.presentationml.tags+xml"/>
  <Override PartName="/ppt/tags/tag2754.xml" ContentType="application/vnd.openxmlformats-officedocument.presentationml.tags+xml"/>
  <Override PartName="/ppt/tags/tag2755.xml" ContentType="application/vnd.openxmlformats-officedocument.presentationml.tags+xml"/>
  <Override PartName="/ppt/tags/tag2756.xml" ContentType="application/vnd.openxmlformats-officedocument.presentationml.tags+xml"/>
  <Override PartName="/ppt/tags/tag2757.xml" ContentType="application/vnd.openxmlformats-officedocument.presentationml.tags+xml"/>
  <Override PartName="/ppt/tags/tag2758.xml" ContentType="application/vnd.openxmlformats-officedocument.presentationml.tags+xml"/>
  <Override PartName="/ppt/tags/tag2759.xml" ContentType="application/vnd.openxmlformats-officedocument.presentationml.tags+xml"/>
  <Override PartName="/ppt/tags/tag2760.xml" ContentType="application/vnd.openxmlformats-officedocument.presentationml.tags+xml"/>
  <Override PartName="/ppt/tags/tag2761.xml" ContentType="application/vnd.openxmlformats-officedocument.presentationml.tags+xml"/>
  <Override PartName="/ppt/tags/tag2762.xml" ContentType="application/vnd.openxmlformats-officedocument.presentationml.tags+xml"/>
  <Override PartName="/ppt/tags/tag2763.xml" ContentType="application/vnd.openxmlformats-officedocument.presentationml.tags+xml"/>
  <Override PartName="/ppt/tags/tag2764.xml" ContentType="application/vnd.openxmlformats-officedocument.presentationml.tags+xml"/>
  <Override PartName="/ppt/tags/tag2765.xml" ContentType="application/vnd.openxmlformats-officedocument.presentationml.tags+xml"/>
  <Override PartName="/ppt/tags/tag2766.xml" ContentType="application/vnd.openxmlformats-officedocument.presentationml.tags+xml"/>
  <Override PartName="/ppt/tags/tag2767.xml" ContentType="application/vnd.openxmlformats-officedocument.presentationml.tags+xml"/>
  <Override PartName="/ppt/tags/tag2768.xml" ContentType="application/vnd.openxmlformats-officedocument.presentationml.tags+xml"/>
  <Override PartName="/ppt/tags/tag2769.xml" ContentType="application/vnd.openxmlformats-officedocument.presentationml.tags+xml"/>
  <Override PartName="/ppt/tags/tag2770.xml" ContentType="application/vnd.openxmlformats-officedocument.presentationml.tags+xml"/>
  <Override PartName="/ppt/tags/tag2771.xml" ContentType="application/vnd.openxmlformats-officedocument.presentationml.tags+xml"/>
  <Override PartName="/ppt/tags/tag2772.xml" ContentType="application/vnd.openxmlformats-officedocument.presentationml.tags+xml"/>
  <Override PartName="/ppt/tags/tag2773.xml" ContentType="application/vnd.openxmlformats-officedocument.presentationml.tags+xml"/>
  <Override PartName="/ppt/tags/tag2774.xml" ContentType="application/vnd.openxmlformats-officedocument.presentationml.tags+xml"/>
  <Override PartName="/ppt/tags/tag2775.xml" ContentType="application/vnd.openxmlformats-officedocument.presentationml.tags+xml"/>
  <Override PartName="/ppt/tags/tag2776.xml" ContentType="application/vnd.openxmlformats-officedocument.presentationml.tags+xml"/>
  <Override PartName="/ppt/tags/tag2777.xml" ContentType="application/vnd.openxmlformats-officedocument.presentationml.tags+xml"/>
  <Override PartName="/ppt/tags/tag2778.xml" ContentType="application/vnd.openxmlformats-officedocument.presentationml.tags+xml"/>
  <Override PartName="/ppt/tags/tag2779.xml" ContentType="application/vnd.openxmlformats-officedocument.presentationml.tags+xml"/>
  <Override PartName="/ppt/tags/tag2780.xml" ContentType="application/vnd.openxmlformats-officedocument.presentationml.tags+xml"/>
  <Override PartName="/ppt/tags/tag2781.xml" ContentType="application/vnd.openxmlformats-officedocument.presentationml.tags+xml"/>
  <Override PartName="/ppt/tags/tag2782.xml" ContentType="application/vnd.openxmlformats-officedocument.presentationml.tags+xml"/>
  <Override PartName="/ppt/tags/tag2783.xml" ContentType="application/vnd.openxmlformats-officedocument.presentationml.tags+xml"/>
  <Override PartName="/ppt/tags/tag2784.xml" ContentType="application/vnd.openxmlformats-officedocument.presentationml.tags+xml"/>
  <Override PartName="/ppt/tags/tag2785.xml" ContentType="application/vnd.openxmlformats-officedocument.presentationml.tags+xml"/>
  <Override PartName="/ppt/tags/tag2786.xml" ContentType="application/vnd.openxmlformats-officedocument.presentationml.tags+xml"/>
  <Override PartName="/ppt/tags/tag2787.xml" ContentType="application/vnd.openxmlformats-officedocument.presentationml.tags+xml"/>
  <Override PartName="/ppt/tags/tag2788.xml" ContentType="application/vnd.openxmlformats-officedocument.presentationml.tags+xml"/>
  <Override PartName="/ppt/tags/tag2789.xml" ContentType="application/vnd.openxmlformats-officedocument.presentationml.tags+xml"/>
  <Override PartName="/ppt/tags/tag2790.xml" ContentType="application/vnd.openxmlformats-officedocument.presentationml.tags+xml"/>
  <Override PartName="/ppt/tags/tag2791.xml" ContentType="application/vnd.openxmlformats-officedocument.presentationml.tags+xml"/>
  <Override PartName="/ppt/tags/tag2792.xml" ContentType="application/vnd.openxmlformats-officedocument.presentationml.tags+xml"/>
  <Override PartName="/ppt/tags/tag2793.xml" ContentType="application/vnd.openxmlformats-officedocument.presentationml.tags+xml"/>
  <Override PartName="/ppt/tags/tag2794.xml" ContentType="application/vnd.openxmlformats-officedocument.presentationml.tags+xml"/>
  <Override PartName="/ppt/tags/tag2795.xml" ContentType="application/vnd.openxmlformats-officedocument.presentationml.tags+xml"/>
  <Override PartName="/ppt/tags/tag2796.xml" ContentType="application/vnd.openxmlformats-officedocument.presentationml.tags+xml"/>
  <Override PartName="/ppt/tags/tag2797.xml" ContentType="application/vnd.openxmlformats-officedocument.presentationml.tags+xml"/>
  <Override PartName="/ppt/tags/tag2798.xml" ContentType="application/vnd.openxmlformats-officedocument.presentationml.tags+xml"/>
  <Override PartName="/ppt/tags/tag2799.xml" ContentType="application/vnd.openxmlformats-officedocument.presentationml.tags+xml"/>
  <Override PartName="/ppt/tags/tag2800.xml" ContentType="application/vnd.openxmlformats-officedocument.presentationml.tags+xml"/>
  <Override PartName="/ppt/tags/tag2801.xml" ContentType="application/vnd.openxmlformats-officedocument.presentationml.tags+xml"/>
  <Override PartName="/ppt/tags/tag2802.xml" ContentType="application/vnd.openxmlformats-officedocument.presentationml.tags+xml"/>
  <Override PartName="/ppt/tags/tag2803.xml" ContentType="application/vnd.openxmlformats-officedocument.presentationml.tags+xml"/>
  <Override PartName="/ppt/tags/tag2804.xml" ContentType="application/vnd.openxmlformats-officedocument.presentationml.tags+xml"/>
  <Override PartName="/ppt/tags/tag2805.xml" ContentType="application/vnd.openxmlformats-officedocument.presentationml.tags+xml"/>
  <Override PartName="/ppt/tags/tag2806.xml" ContentType="application/vnd.openxmlformats-officedocument.presentationml.tags+xml"/>
  <Override PartName="/ppt/tags/tag2807.xml" ContentType="application/vnd.openxmlformats-officedocument.presentationml.tags+xml"/>
  <Override PartName="/ppt/tags/tag2808.xml" ContentType="application/vnd.openxmlformats-officedocument.presentationml.tags+xml"/>
  <Override PartName="/ppt/tags/tag2809.xml" ContentType="application/vnd.openxmlformats-officedocument.presentationml.tags+xml"/>
  <Override PartName="/ppt/tags/tag2810.xml" ContentType="application/vnd.openxmlformats-officedocument.presentationml.tags+xml"/>
  <Override PartName="/ppt/tags/tag2811.xml" ContentType="application/vnd.openxmlformats-officedocument.presentationml.tags+xml"/>
  <Override PartName="/ppt/tags/tag2812.xml" ContentType="application/vnd.openxmlformats-officedocument.presentationml.tags+xml"/>
  <Override PartName="/ppt/tags/tag2813.xml" ContentType="application/vnd.openxmlformats-officedocument.presentationml.tags+xml"/>
  <Override PartName="/ppt/tags/tag2814.xml" ContentType="application/vnd.openxmlformats-officedocument.presentationml.tags+xml"/>
  <Override PartName="/ppt/tags/tag2815.xml" ContentType="application/vnd.openxmlformats-officedocument.presentationml.tags+xml"/>
  <Override PartName="/ppt/tags/tag2816.xml" ContentType="application/vnd.openxmlformats-officedocument.presentationml.tags+xml"/>
  <Override PartName="/ppt/tags/tag2817.xml" ContentType="application/vnd.openxmlformats-officedocument.presentationml.tags+xml"/>
  <Override PartName="/ppt/tags/tag2818.xml" ContentType="application/vnd.openxmlformats-officedocument.presentationml.tags+xml"/>
  <Override PartName="/ppt/tags/tag2819.xml" ContentType="application/vnd.openxmlformats-officedocument.presentationml.tags+xml"/>
  <Override PartName="/ppt/tags/tag2820.xml" ContentType="application/vnd.openxmlformats-officedocument.presentationml.tags+xml"/>
  <Override PartName="/ppt/tags/tag2821.xml" ContentType="application/vnd.openxmlformats-officedocument.presentationml.tags+xml"/>
  <Override PartName="/ppt/tags/tag2822.xml" ContentType="application/vnd.openxmlformats-officedocument.presentationml.tags+xml"/>
  <Override PartName="/ppt/tags/tag2823.xml" ContentType="application/vnd.openxmlformats-officedocument.presentationml.tags+xml"/>
  <Override PartName="/ppt/tags/tag2824.xml" ContentType="application/vnd.openxmlformats-officedocument.presentationml.tags+xml"/>
  <Override PartName="/ppt/tags/tag2825.xml" ContentType="application/vnd.openxmlformats-officedocument.presentationml.tags+xml"/>
  <Override PartName="/ppt/tags/tag2826.xml" ContentType="application/vnd.openxmlformats-officedocument.presentationml.tags+xml"/>
  <Override PartName="/ppt/tags/tag2827.xml" ContentType="application/vnd.openxmlformats-officedocument.presentationml.tags+xml"/>
  <Override PartName="/ppt/tags/tag2828.xml" ContentType="application/vnd.openxmlformats-officedocument.presentationml.tags+xml"/>
  <Override PartName="/ppt/tags/tag2829.xml" ContentType="application/vnd.openxmlformats-officedocument.presentationml.tags+xml"/>
  <Override PartName="/ppt/tags/tag2830.xml" ContentType="application/vnd.openxmlformats-officedocument.presentationml.tags+xml"/>
  <Override PartName="/ppt/tags/tag2831.xml" ContentType="application/vnd.openxmlformats-officedocument.presentationml.tags+xml"/>
  <Override PartName="/ppt/tags/tag2832.xml" ContentType="application/vnd.openxmlformats-officedocument.presentationml.tags+xml"/>
  <Override PartName="/ppt/tags/tag2833.xml" ContentType="application/vnd.openxmlformats-officedocument.presentationml.tags+xml"/>
  <Override PartName="/ppt/tags/tag2834.xml" ContentType="application/vnd.openxmlformats-officedocument.presentationml.tags+xml"/>
  <Override PartName="/ppt/tags/tag2835.xml" ContentType="application/vnd.openxmlformats-officedocument.presentationml.tags+xml"/>
  <Override PartName="/ppt/tags/tag2836.xml" ContentType="application/vnd.openxmlformats-officedocument.presentationml.tags+xml"/>
  <Override PartName="/ppt/tags/tag2837.xml" ContentType="application/vnd.openxmlformats-officedocument.presentationml.tags+xml"/>
  <Override PartName="/ppt/tags/tag2838.xml" ContentType="application/vnd.openxmlformats-officedocument.presentationml.tags+xml"/>
  <Override PartName="/ppt/tags/tag2839.xml" ContentType="application/vnd.openxmlformats-officedocument.presentationml.tags+xml"/>
  <Override PartName="/ppt/tags/tag2840.xml" ContentType="application/vnd.openxmlformats-officedocument.presentationml.tags+xml"/>
  <Override PartName="/ppt/tags/tag2841.xml" ContentType="application/vnd.openxmlformats-officedocument.presentationml.tags+xml"/>
  <Override PartName="/ppt/tags/tag2842.xml" ContentType="application/vnd.openxmlformats-officedocument.presentationml.tags+xml"/>
  <Override PartName="/ppt/tags/tag2843.xml" ContentType="application/vnd.openxmlformats-officedocument.presentationml.tags+xml"/>
  <Override PartName="/ppt/tags/tag2844.xml" ContentType="application/vnd.openxmlformats-officedocument.presentationml.tags+xml"/>
  <Override PartName="/ppt/tags/tag2845.xml" ContentType="application/vnd.openxmlformats-officedocument.presentationml.tags+xml"/>
  <Override PartName="/ppt/tags/tag2846.xml" ContentType="application/vnd.openxmlformats-officedocument.presentationml.tags+xml"/>
  <Override PartName="/ppt/tags/tag2847.xml" ContentType="application/vnd.openxmlformats-officedocument.presentationml.tags+xml"/>
  <Override PartName="/ppt/tags/tag2848.xml" ContentType="application/vnd.openxmlformats-officedocument.presentationml.tags+xml"/>
  <Override PartName="/ppt/tags/tag2849.xml" ContentType="application/vnd.openxmlformats-officedocument.presentationml.tags+xml"/>
  <Override PartName="/ppt/tags/tag2850.xml" ContentType="application/vnd.openxmlformats-officedocument.presentationml.tags+xml"/>
  <Override PartName="/ppt/tags/tag2851.xml" ContentType="application/vnd.openxmlformats-officedocument.presentationml.tags+xml"/>
  <Override PartName="/ppt/tags/tag2852.xml" ContentType="application/vnd.openxmlformats-officedocument.presentationml.tags+xml"/>
  <Override PartName="/ppt/tags/tag2853.xml" ContentType="application/vnd.openxmlformats-officedocument.presentationml.tags+xml"/>
  <Override PartName="/ppt/tags/tag2854.xml" ContentType="application/vnd.openxmlformats-officedocument.presentationml.tags+xml"/>
  <Override PartName="/ppt/tags/tag2855.xml" ContentType="application/vnd.openxmlformats-officedocument.presentationml.tags+xml"/>
  <Override PartName="/ppt/tags/tag2856.xml" ContentType="application/vnd.openxmlformats-officedocument.presentationml.tags+xml"/>
  <Override PartName="/ppt/tags/tag2857.xml" ContentType="application/vnd.openxmlformats-officedocument.presentationml.tags+xml"/>
  <Override PartName="/ppt/tags/tag2858.xml" ContentType="application/vnd.openxmlformats-officedocument.presentationml.tags+xml"/>
  <Override PartName="/ppt/tags/tag2859.xml" ContentType="application/vnd.openxmlformats-officedocument.presentationml.tags+xml"/>
  <Override PartName="/ppt/tags/tag2860.xml" ContentType="application/vnd.openxmlformats-officedocument.presentationml.tags+xml"/>
  <Override PartName="/ppt/tags/tag2861.xml" ContentType="application/vnd.openxmlformats-officedocument.presentationml.tags+xml"/>
  <Override PartName="/ppt/tags/tag2862.xml" ContentType="application/vnd.openxmlformats-officedocument.presentationml.tags+xml"/>
  <Override PartName="/ppt/tags/tag2863.xml" ContentType="application/vnd.openxmlformats-officedocument.presentationml.tags+xml"/>
  <Override PartName="/ppt/tags/tag2864.xml" ContentType="application/vnd.openxmlformats-officedocument.presentationml.tags+xml"/>
  <Override PartName="/ppt/tags/tag2865.xml" ContentType="application/vnd.openxmlformats-officedocument.presentationml.tags+xml"/>
  <Override PartName="/ppt/tags/tag2866.xml" ContentType="application/vnd.openxmlformats-officedocument.presentationml.tags+xml"/>
  <Override PartName="/ppt/tags/tag2867.xml" ContentType="application/vnd.openxmlformats-officedocument.presentationml.tags+xml"/>
  <Override PartName="/ppt/tags/tag2868.xml" ContentType="application/vnd.openxmlformats-officedocument.presentationml.tags+xml"/>
  <Override PartName="/ppt/tags/tag2869.xml" ContentType="application/vnd.openxmlformats-officedocument.presentationml.tags+xml"/>
  <Override PartName="/ppt/tags/tag2870.xml" ContentType="application/vnd.openxmlformats-officedocument.presentationml.tags+xml"/>
  <Override PartName="/ppt/tags/tag2871.xml" ContentType="application/vnd.openxmlformats-officedocument.presentationml.tags+xml"/>
  <Override PartName="/ppt/tags/tag2872.xml" ContentType="application/vnd.openxmlformats-officedocument.presentationml.tags+xml"/>
  <Override PartName="/ppt/tags/tag2873.xml" ContentType="application/vnd.openxmlformats-officedocument.presentationml.tags+xml"/>
  <Override PartName="/ppt/tags/tag2874.xml" ContentType="application/vnd.openxmlformats-officedocument.presentationml.tags+xml"/>
  <Override PartName="/ppt/tags/tag2875.xml" ContentType="application/vnd.openxmlformats-officedocument.presentationml.tags+xml"/>
  <Override PartName="/ppt/tags/tag2876.xml" ContentType="application/vnd.openxmlformats-officedocument.presentationml.tags+xml"/>
  <Override PartName="/ppt/tags/tag2877.xml" ContentType="application/vnd.openxmlformats-officedocument.presentationml.tags+xml"/>
  <Override PartName="/ppt/tags/tag2878.xml" ContentType="application/vnd.openxmlformats-officedocument.presentationml.tags+xml"/>
  <Override PartName="/ppt/tags/tag2879.xml" ContentType="application/vnd.openxmlformats-officedocument.presentationml.tags+xml"/>
  <Override PartName="/ppt/tags/tag2880.xml" ContentType="application/vnd.openxmlformats-officedocument.presentationml.tags+xml"/>
  <Override PartName="/ppt/tags/tag2881.xml" ContentType="application/vnd.openxmlformats-officedocument.presentationml.tags+xml"/>
  <Override PartName="/ppt/tags/tag2882.xml" ContentType="application/vnd.openxmlformats-officedocument.presentationml.tags+xml"/>
  <Override PartName="/ppt/tags/tag2883.xml" ContentType="application/vnd.openxmlformats-officedocument.presentationml.tags+xml"/>
  <Override PartName="/ppt/tags/tag2884.xml" ContentType="application/vnd.openxmlformats-officedocument.presentationml.tags+xml"/>
  <Override PartName="/ppt/tags/tag2885.xml" ContentType="application/vnd.openxmlformats-officedocument.presentationml.tags+xml"/>
  <Override PartName="/ppt/tags/tag2886.xml" ContentType="application/vnd.openxmlformats-officedocument.presentationml.tags+xml"/>
  <Override PartName="/ppt/tags/tag2887.xml" ContentType="application/vnd.openxmlformats-officedocument.presentationml.tags+xml"/>
  <Override PartName="/ppt/tags/tag2888.xml" ContentType="application/vnd.openxmlformats-officedocument.presentationml.tags+xml"/>
  <Override PartName="/ppt/tags/tag2889.xml" ContentType="application/vnd.openxmlformats-officedocument.presentationml.tags+xml"/>
  <Override PartName="/ppt/tags/tag2890.xml" ContentType="application/vnd.openxmlformats-officedocument.presentationml.tags+xml"/>
  <Override PartName="/ppt/tags/tag2891.xml" ContentType="application/vnd.openxmlformats-officedocument.presentationml.tags+xml"/>
  <Override PartName="/ppt/tags/tag2892.xml" ContentType="application/vnd.openxmlformats-officedocument.presentationml.tags+xml"/>
  <Override PartName="/ppt/tags/tag2893.xml" ContentType="application/vnd.openxmlformats-officedocument.presentationml.tags+xml"/>
  <Override PartName="/ppt/tags/tag2894.xml" ContentType="application/vnd.openxmlformats-officedocument.presentationml.tags+xml"/>
  <Override PartName="/ppt/tags/tag2895.xml" ContentType="application/vnd.openxmlformats-officedocument.presentationml.tags+xml"/>
  <Override PartName="/ppt/tags/tag2896.xml" ContentType="application/vnd.openxmlformats-officedocument.presentationml.tags+xml"/>
  <Override PartName="/ppt/tags/tag2897.xml" ContentType="application/vnd.openxmlformats-officedocument.presentationml.tags+xml"/>
  <Override PartName="/ppt/tags/tag2898.xml" ContentType="application/vnd.openxmlformats-officedocument.presentationml.tags+xml"/>
  <Override PartName="/ppt/tags/tag2899.xml" ContentType="application/vnd.openxmlformats-officedocument.presentationml.tags+xml"/>
  <Override PartName="/ppt/tags/tag2900.xml" ContentType="application/vnd.openxmlformats-officedocument.presentationml.tags+xml"/>
  <Override PartName="/ppt/tags/tag2901.xml" ContentType="application/vnd.openxmlformats-officedocument.presentationml.tags+xml"/>
  <Override PartName="/ppt/tags/tag2902.xml" ContentType="application/vnd.openxmlformats-officedocument.presentationml.tags+xml"/>
  <Override PartName="/ppt/tags/tag2903.xml" ContentType="application/vnd.openxmlformats-officedocument.presentationml.tags+xml"/>
  <Override PartName="/ppt/tags/tag2904.xml" ContentType="application/vnd.openxmlformats-officedocument.presentationml.tags+xml"/>
  <Override PartName="/ppt/tags/tag2905.xml" ContentType="application/vnd.openxmlformats-officedocument.presentationml.tags+xml"/>
  <Override PartName="/ppt/tags/tag2906.xml" ContentType="application/vnd.openxmlformats-officedocument.presentationml.tags+xml"/>
  <Override PartName="/ppt/tags/tag2907.xml" ContentType="application/vnd.openxmlformats-officedocument.presentationml.tags+xml"/>
  <Override PartName="/ppt/tags/tag2908.xml" ContentType="application/vnd.openxmlformats-officedocument.presentationml.tags+xml"/>
  <Override PartName="/ppt/tags/tag2909.xml" ContentType="application/vnd.openxmlformats-officedocument.presentationml.tags+xml"/>
  <Override PartName="/ppt/tags/tag2910.xml" ContentType="application/vnd.openxmlformats-officedocument.presentationml.tags+xml"/>
  <Override PartName="/ppt/tags/tag2911.xml" ContentType="application/vnd.openxmlformats-officedocument.presentationml.tags+xml"/>
  <Override PartName="/ppt/tags/tag2912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tags/tag2913.xml" ContentType="application/vnd.openxmlformats-officedocument.presentationml.tags+xml"/>
  <Override PartName="/ppt/tags/tag291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4"/>
    <p:sldMasterId id="2147483705" r:id="rId5"/>
    <p:sldMasterId id="2147483723" r:id="rId6"/>
    <p:sldMasterId id="2147483730" r:id="rId7"/>
    <p:sldMasterId id="2147483747" r:id="rId8"/>
    <p:sldMasterId id="2147483752" r:id="rId9"/>
    <p:sldMasterId id="2147483761" r:id="rId10"/>
    <p:sldMasterId id="2147483767" r:id="rId11"/>
    <p:sldMasterId id="2147483776" r:id="rId12"/>
    <p:sldMasterId id="2147483796" r:id="rId13"/>
    <p:sldMasterId id="2147483808" r:id="rId14"/>
    <p:sldMasterId id="2147483815" r:id="rId15"/>
    <p:sldMasterId id="2147483820" r:id="rId16"/>
    <p:sldMasterId id="2147483843" r:id="rId17"/>
  </p:sldMasterIdLst>
  <p:notesMasterIdLst>
    <p:notesMasterId r:id="rId22"/>
  </p:notesMasterIdLst>
  <p:handoutMasterIdLst>
    <p:handoutMasterId r:id="rId23"/>
  </p:handoutMasterIdLst>
  <p:sldIdLst>
    <p:sldId id="2145707496" r:id="rId18"/>
    <p:sldId id="2145707495" r:id="rId19"/>
    <p:sldId id="2145707498" r:id="rId20"/>
    <p:sldId id="2145707499" r:id="rId21"/>
  </p:sldIdLst>
  <p:sldSz cx="12192000" cy="6858000"/>
  <p:notesSz cx="7010400" cy="92964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ud Abbasi" initials="SA" lastIdx="1" clrIdx="0">
    <p:extLst>
      <p:ext uri="{19B8F6BF-5375-455C-9EA6-DF929625EA0E}">
        <p15:presenceInfo xmlns:p15="http://schemas.microsoft.com/office/powerpoint/2012/main" userId="S::Saud.Abbasi@alfuttaim.com::80ffec72-d5c0-4851-9532-c606599153a1" providerId="AD"/>
      </p:ext>
    </p:extLst>
  </p:cmAuthor>
  <p:cmAuthor id="2" name="Alfred Sihler" initials="AS" lastIdx="3" clrIdx="1">
    <p:extLst>
      <p:ext uri="{19B8F6BF-5375-455C-9EA6-DF929625EA0E}">
        <p15:presenceInfo xmlns:p15="http://schemas.microsoft.com/office/powerpoint/2012/main" userId="S::Alfred.Sihler@alfuttaim.com::6b7b4f37-6617-4131-9d0f-c9c7a64adc6a" providerId="AD"/>
      </p:ext>
    </p:extLst>
  </p:cmAuthor>
  <p:cmAuthor id="3" name="Arshad Hasan" initials="AH" lastIdx="1" clrIdx="2">
    <p:extLst>
      <p:ext uri="{19B8F6BF-5375-455C-9EA6-DF929625EA0E}">
        <p15:presenceInfo xmlns:p15="http://schemas.microsoft.com/office/powerpoint/2012/main" userId="S::arshad.hasan@alfuttaim.com::6c5dfff6-1912-4a07-bd7f-a673637e866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7770"/>
    <a:srgbClr val="339966"/>
    <a:srgbClr val="005BAA"/>
    <a:srgbClr val="B2B2B2"/>
    <a:srgbClr val="0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7135FEA-A61B-4252-B8EB-B92FE95C1279}" v="1" dt="2022-02-15T10:45:44.838"/>
    <p1510:client id="{CBE88C87-B760-4587-965F-E540AC9C2F7C}" v="2" dt="2022-02-23T09:26:08.7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023" autoAdjust="0"/>
    <p:restoredTop sz="95380" autoAdjust="0"/>
  </p:normalViewPr>
  <p:slideViewPr>
    <p:cSldViewPr snapToGrid="0">
      <p:cViewPr varScale="1">
        <p:scale>
          <a:sx n="84" d="100"/>
          <a:sy n="84" d="100"/>
        </p:scale>
        <p:origin x="1164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50" d="100"/>
          <a:sy n="50" d="100"/>
        </p:scale>
        <p:origin x="268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nda Chavan" userId="34e89c32-0fed-433b-b873-94f45b635485" providerId="ADAL" clId="{A7135FEA-A61B-4252-B8EB-B92FE95C1279}"/>
    <pc:docChg chg="addSld delSld modSld sldOrd">
      <pc:chgData name="Linda Chavan" userId="34e89c32-0fed-433b-b873-94f45b635485" providerId="ADAL" clId="{A7135FEA-A61B-4252-B8EB-B92FE95C1279}" dt="2022-02-15T10:45:52.990" v="13" actId="47"/>
      <pc:docMkLst>
        <pc:docMk/>
      </pc:docMkLst>
      <pc:sldChg chg="del ord">
        <pc:chgData name="Linda Chavan" userId="34e89c32-0fed-433b-b873-94f45b635485" providerId="ADAL" clId="{A7135FEA-A61B-4252-B8EB-B92FE95C1279}" dt="2022-02-15T10:45:51.268" v="12" actId="47"/>
        <pc:sldMkLst>
          <pc:docMk/>
          <pc:sldMk cId="4139031899" sldId="2145707494"/>
        </pc:sldMkLst>
      </pc:sldChg>
      <pc:sldChg chg="ord">
        <pc:chgData name="Linda Chavan" userId="34e89c32-0fed-433b-b873-94f45b635485" providerId="ADAL" clId="{A7135FEA-A61B-4252-B8EB-B92FE95C1279}" dt="2022-02-14T14:15:54.094" v="5"/>
        <pc:sldMkLst>
          <pc:docMk/>
          <pc:sldMk cId="2655013469" sldId="2145707495"/>
        </pc:sldMkLst>
      </pc:sldChg>
      <pc:sldChg chg="modSp mod ord">
        <pc:chgData name="Linda Chavan" userId="34e89c32-0fed-433b-b873-94f45b635485" providerId="ADAL" clId="{A7135FEA-A61B-4252-B8EB-B92FE95C1279}" dt="2022-02-14T14:19:02.576" v="10" actId="255"/>
        <pc:sldMkLst>
          <pc:docMk/>
          <pc:sldMk cId="2943254665" sldId="2145707496"/>
        </pc:sldMkLst>
        <pc:spChg chg="mod">
          <ac:chgData name="Linda Chavan" userId="34e89c32-0fed-433b-b873-94f45b635485" providerId="ADAL" clId="{A7135FEA-A61B-4252-B8EB-B92FE95C1279}" dt="2022-02-14T14:19:02.576" v="10" actId="255"/>
          <ac:spMkLst>
            <pc:docMk/>
            <pc:sldMk cId="2943254665" sldId="2145707496"/>
            <ac:spMk id="64" creationId="{F6B93CC7-D7FC-47A4-A82F-24B23E9AA136}"/>
          </ac:spMkLst>
        </pc:spChg>
      </pc:sldChg>
      <pc:sldChg chg="del">
        <pc:chgData name="Linda Chavan" userId="34e89c32-0fed-433b-b873-94f45b635485" providerId="ADAL" clId="{A7135FEA-A61B-4252-B8EB-B92FE95C1279}" dt="2022-02-15T10:45:52.990" v="13" actId="47"/>
        <pc:sldMkLst>
          <pc:docMk/>
          <pc:sldMk cId="2596134696" sldId="2145707497"/>
        </pc:sldMkLst>
      </pc:sldChg>
      <pc:sldChg chg="add">
        <pc:chgData name="Linda Chavan" userId="34e89c32-0fed-433b-b873-94f45b635485" providerId="ADAL" clId="{A7135FEA-A61B-4252-B8EB-B92FE95C1279}" dt="2022-02-15T10:45:44.784" v="11"/>
        <pc:sldMkLst>
          <pc:docMk/>
          <pc:sldMk cId="4195080160" sldId="2145707498"/>
        </pc:sldMkLst>
      </pc:sldChg>
      <pc:sldChg chg="add">
        <pc:chgData name="Linda Chavan" userId="34e89c32-0fed-433b-b873-94f45b635485" providerId="ADAL" clId="{A7135FEA-A61B-4252-B8EB-B92FE95C1279}" dt="2022-02-15T10:45:44.784" v="11"/>
        <pc:sldMkLst>
          <pc:docMk/>
          <pc:sldMk cId="965788363" sldId="2145707499"/>
        </pc:sldMkLst>
      </pc:sldChg>
    </pc:docChg>
  </pc:docChgLst>
  <pc:docChgLst>
    <pc:chgData name="Saad Khan" userId="S::saad.khan@alfuttaim.com::d0ee30a7-c5ed-4594-b548-f748296cb8bf" providerId="AD" clId="Web-{CBE88C87-B760-4587-965F-E540AC9C2F7C}"/>
    <pc:docChg chg="modSld">
      <pc:chgData name="Saad Khan" userId="S::saad.khan@alfuttaim.com::d0ee30a7-c5ed-4594-b548-f748296cb8bf" providerId="AD" clId="Web-{CBE88C87-B760-4587-965F-E540AC9C2F7C}" dt="2022-02-23T09:26:08.707" v="1" actId="1076"/>
      <pc:docMkLst>
        <pc:docMk/>
      </pc:docMkLst>
      <pc:sldChg chg="modSp">
        <pc:chgData name="Saad Khan" userId="S::saad.khan@alfuttaim.com::d0ee30a7-c5ed-4594-b548-f748296cb8bf" providerId="AD" clId="Web-{CBE88C87-B760-4587-965F-E540AC9C2F7C}" dt="2022-02-23T09:26:08.707" v="1" actId="1076"/>
        <pc:sldMkLst>
          <pc:docMk/>
          <pc:sldMk cId="4195080160" sldId="2145707498"/>
        </pc:sldMkLst>
        <pc:spChg chg="mod">
          <ac:chgData name="Saad Khan" userId="S::saad.khan@alfuttaim.com::d0ee30a7-c5ed-4594-b548-f748296cb8bf" providerId="AD" clId="Web-{CBE88C87-B760-4587-965F-E540AC9C2F7C}" dt="2022-02-23T09:26:08.707" v="1" actId="1076"/>
          <ac:spMkLst>
            <pc:docMk/>
            <pc:sldMk cId="4195080160" sldId="2145707498"/>
            <ac:spMk id="63" creationId="{96A7D331-A931-44F6-97CB-7C4CA9011A6A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A8857C-1A58-4661-9F4E-310FDE7F090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119AFD2-FB32-4E32-A442-F4BFBDFF6ED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92E8D7-C2F9-4BE7-BBAA-DE81C985B5E4}" type="datetimeFigureOut">
              <a:rPr lang="en-US" smtClean="0"/>
              <a:t>Jan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64ED24-5EB6-44F1-A56C-F49896C6BC1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25C7B8-7041-43EE-8B5E-18588A70939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B408D8-0792-4351-8C77-1497A80721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887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19" tIns="46559" rIns="93119" bIns="4655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0" y="1"/>
            <a:ext cx="3037840" cy="466434"/>
          </a:xfrm>
          <a:prstGeom prst="rect">
            <a:avLst/>
          </a:prstGeom>
        </p:spPr>
        <p:txBody>
          <a:bodyPr vert="horz" lIns="93119" tIns="46559" rIns="93119" bIns="46559" rtlCol="0"/>
          <a:lstStyle>
            <a:lvl1pPr algn="r">
              <a:defRPr sz="1300"/>
            </a:lvl1pPr>
          </a:lstStyle>
          <a:p>
            <a:fld id="{70CE2133-740B-4B87-B7B2-D2615BE19417}" type="datetimeFigureOut">
              <a:rPr lang="en-US" smtClean="0"/>
              <a:t>Jan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19" tIns="46559" rIns="93119" bIns="4655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4"/>
            <a:ext cx="5608320" cy="3660458"/>
          </a:xfrm>
          <a:prstGeom prst="rect">
            <a:avLst/>
          </a:prstGeom>
        </p:spPr>
        <p:txBody>
          <a:bodyPr vert="horz" lIns="93119" tIns="46559" rIns="93119" bIns="4655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74"/>
            <a:ext cx="3037840" cy="466433"/>
          </a:xfrm>
          <a:prstGeom prst="rect">
            <a:avLst/>
          </a:prstGeom>
        </p:spPr>
        <p:txBody>
          <a:bodyPr vert="horz" lIns="93119" tIns="46559" rIns="93119" bIns="4655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0" y="8829974"/>
            <a:ext cx="3037840" cy="466433"/>
          </a:xfrm>
          <a:prstGeom prst="rect">
            <a:avLst/>
          </a:prstGeom>
        </p:spPr>
        <p:txBody>
          <a:bodyPr vert="horz" lIns="93119" tIns="46559" rIns="93119" bIns="46559" rtlCol="0" anchor="b"/>
          <a:lstStyle>
            <a:lvl1pPr algn="r">
              <a:defRPr sz="1300"/>
            </a:lvl1pPr>
          </a:lstStyle>
          <a:p>
            <a:fld id="{48A882AC-CFE8-4B47-BD42-98FE247431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7719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65.xml"/><Relationship Id="rId7" Type="http://schemas.openxmlformats.org/officeDocument/2006/relationships/image" Target="../media/image15.png"/><Relationship Id="rId2" Type="http://schemas.openxmlformats.org/officeDocument/2006/relationships/tags" Target="../tags/tag6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gif"/><Relationship Id="rId3" Type="http://schemas.openxmlformats.org/officeDocument/2006/relationships/tags" Target="../tags/tag70.xml"/><Relationship Id="rId7" Type="http://schemas.openxmlformats.org/officeDocument/2006/relationships/image" Target="../media/image17.emf"/><Relationship Id="rId2" Type="http://schemas.openxmlformats.org/officeDocument/2006/relationships/tags" Target="../tags/tag6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png"/><Relationship Id="rId2" Type="http://schemas.openxmlformats.org/officeDocument/2006/relationships/tags" Target="../tags/tag9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9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0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9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image" Target="../media/image17.emf"/><Relationship Id="rId2" Type="http://schemas.openxmlformats.org/officeDocument/2006/relationships/tags" Target="../tags/tag138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4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7" Type="http://schemas.openxmlformats.org/officeDocument/2006/relationships/image" Target="../media/image11.png"/><Relationship Id="rId2" Type="http://schemas.openxmlformats.org/officeDocument/2006/relationships/tags" Target="../tags/tag161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7" Type="http://schemas.openxmlformats.org/officeDocument/2006/relationships/image" Target="../media/image21.emf"/><Relationship Id="rId2" Type="http://schemas.openxmlformats.org/officeDocument/2006/relationships/tags" Target="../tags/tag163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16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image" Target="../media/image11.png"/><Relationship Id="rId2" Type="http://schemas.openxmlformats.org/officeDocument/2006/relationships/tags" Target="../tags/tag166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7" Type="http://schemas.openxmlformats.org/officeDocument/2006/relationships/image" Target="../media/image11.png"/><Relationship Id="rId2" Type="http://schemas.openxmlformats.org/officeDocument/2006/relationships/tags" Target="../tags/tag187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7" Type="http://schemas.openxmlformats.org/officeDocument/2006/relationships/image" Target="../media/image21.emf"/><Relationship Id="rId2" Type="http://schemas.openxmlformats.org/officeDocument/2006/relationships/tags" Target="../tags/tag189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9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7" Type="http://schemas.openxmlformats.org/officeDocument/2006/relationships/image" Target="../media/image11.png"/><Relationship Id="rId2" Type="http://schemas.openxmlformats.org/officeDocument/2006/relationships/tags" Target="../tags/tag19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7" Type="http://schemas.openxmlformats.org/officeDocument/2006/relationships/image" Target="../media/image11.png"/><Relationship Id="rId2" Type="http://schemas.openxmlformats.org/officeDocument/2006/relationships/tags" Target="../tags/tag19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7" Type="http://schemas.openxmlformats.org/officeDocument/2006/relationships/image" Target="../media/image11.png"/><Relationship Id="rId2" Type="http://schemas.openxmlformats.org/officeDocument/2006/relationships/tags" Target="../tags/tag21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7" Type="http://schemas.openxmlformats.org/officeDocument/2006/relationships/image" Target="../media/image21.emf"/><Relationship Id="rId2" Type="http://schemas.openxmlformats.org/officeDocument/2006/relationships/tags" Target="../tags/tag219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22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7" Type="http://schemas.openxmlformats.org/officeDocument/2006/relationships/image" Target="../media/image11.png"/><Relationship Id="rId2" Type="http://schemas.openxmlformats.org/officeDocument/2006/relationships/tags" Target="../tags/tag222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225.xml"/><Relationship Id="rId7" Type="http://schemas.openxmlformats.org/officeDocument/2006/relationships/image" Target="../media/image11.png"/><Relationship Id="rId2" Type="http://schemas.openxmlformats.org/officeDocument/2006/relationships/tags" Target="../tags/tag224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26" Type="http://schemas.openxmlformats.org/officeDocument/2006/relationships/tags" Target="../tags/tag250.xml"/><Relationship Id="rId21" Type="http://schemas.openxmlformats.org/officeDocument/2006/relationships/tags" Target="../tags/tag245.xml"/><Relationship Id="rId42" Type="http://schemas.openxmlformats.org/officeDocument/2006/relationships/tags" Target="../tags/tag266.xml"/><Relationship Id="rId47" Type="http://schemas.openxmlformats.org/officeDocument/2006/relationships/tags" Target="../tags/tag271.xml"/><Relationship Id="rId63" Type="http://schemas.openxmlformats.org/officeDocument/2006/relationships/tags" Target="../tags/tag287.xml"/><Relationship Id="rId68" Type="http://schemas.openxmlformats.org/officeDocument/2006/relationships/tags" Target="../tags/tag292.xml"/><Relationship Id="rId84" Type="http://schemas.openxmlformats.org/officeDocument/2006/relationships/tags" Target="../tags/tag308.xml"/><Relationship Id="rId89" Type="http://schemas.openxmlformats.org/officeDocument/2006/relationships/tags" Target="../tags/tag313.xml"/><Relationship Id="rId16" Type="http://schemas.openxmlformats.org/officeDocument/2006/relationships/tags" Target="../tags/tag240.xml"/><Relationship Id="rId11" Type="http://schemas.openxmlformats.org/officeDocument/2006/relationships/tags" Target="../tags/tag235.xml"/><Relationship Id="rId32" Type="http://schemas.openxmlformats.org/officeDocument/2006/relationships/tags" Target="../tags/tag256.xml"/><Relationship Id="rId37" Type="http://schemas.openxmlformats.org/officeDocument/2006/relationships/tags" Target="../tags/tag261.xml"/><Relationship Id="rId53" Type="http://schemas.openxmlformats.org/officeDocument/2006/relationships/tags" Target="../tags/tag277.xml"/><Relationship Id="rId58" Type="http://schemas.openxmlformats.org/officeDocument/2006/relationships/tags" Target="../tags/tag282.xml"/><Relationship Id="rId74" Type="http://schemas.openxmlformats.org/officeDocument/2006/relationships/tags" Target="../tags/tag298.xml"/><Relationship Id="rId79" Type="http://schemas.openxmlformats.org/officeDocument/2006/relationships/tags" Target="../tags/tag303.xml"/><Relationship Id="rId5" Type="http://schemas.openxmlformats.org/officeDocument/2006/relationships/tags" Target="../tags/tag229.xml"/><Relationship Id="rId90" Type="http://schemas.openxmlformats.org/officeDocument/2006/relationships/tags" Target="../tags/tag314.xml"/><Relationship Id="rId95" Type="http://schemas.openxmlformats.org/officeDocument/2006/relationships/tags" Target="../tags/tag319.xml"/><Relationship Id="rId22" Type="http://schemas.openxmlformats.org/officeDocument/2006/relationships/tags" Target="../tags/tag246.xml"/><Relationship Id="rId27" Type="http://schemas.openxmlformats.org/officeDocument/2006/relationships/tags" Target="../tags/tag251.xml"/><Relationship Id="rId43" Type="http://schemas.openxmlformats.org/officeDocument/2006/relationships/tags" Target="../tags/tag267.xml"/><Relationship Id="rId48" Type="http://schemas.openxmlformats.org/officeDocument/2006/relationships/tags" Target="../tags/tag272.xml"/><Relationship Id="rId64" Type="http://schemas.openxmlformats.org/officeDocument/2006/relationships/tags" Target="../tags/tag288.xml"/><Relationship Id="rId69" Type="http://schemas.openxmlformats.org/officeDocument/2006/relationships/tags" Target="../tags/tag293.xml"/><Relationship Id="rId80" Type="http://schemas.openxmlformats.org/officeDocument/2006/relationships/tags" Target="../tags/tag304.xml"/><Relationship Id="rId85" Type="http://schemas.openxmlformats.org/officeDocument/2006/relationships/tags" Target="../tags/tag309.xml"/><Relationship Id="rId3" Type="http://schemas.openxmlformats.org/officeDocument/2006/relationships/tags" Target="../tags/tag227.xml"/><Relationship Id="rId12" Type="http://schemas.openxmlformats.org/officeDocument/2006/relationships/tags" Target="../tags/tag236.xml"/><Relationship Id="rId17" Type="http://schemas.openxmlformats.org/officeDocument/2006/relationships/tags" Target="../tags/tag241.xml"/><Relationship Id="rId25" Type="http://schemas.openxmlformats.org/officeDocument/2006/relationships/tags" Target="../tags/tag249.xml"/><Relationship Id="rId33" Type="http://schemas.openxmlformats.org/officeDocument/2006/relationships/tags" Target="../tags/tag257.xml"/><Relationship Id="rId38" Type="http://schemas.openxmlformats.org/officeDocument/2006/relationships/tags" Target="../tags/tag262.xml"/><Relationship Id="rId46" Type="http://schemas.openxmlformats.org/officeDocument/2006/relationships/tags" Target="../tags/tag270.xml"/><Relationship Id="rId59" Type="http://schemas.openxmlformats.org/officeDocument/2006/relationships/tags" Target="../tags/tag283.xml"/><Relationship Id="rId67" Type="http://schemas.openxmlformats.org/officeDocument/2006/relationships/tags" Target="../tags/tag291.xml"/><Relationship Id="rId20" Type="http://schemas.openxmlformats.org/officeDocument/2006/relationships/tags" Target="../tags/tag244.xml"/><Relationship Id="rId41" Type="http://schemas.openxmlformats.org/officeDocument/2006/relationships/tags" Target="../tags/tag265.xml"/><Relationship Id="rId54" Type="http://schemas.openxmlformats.org/officeDocument/2006/relationships/tags" Target="../tags/tag278.xml"/><Relationship Id="rId62" Type="http://schemas.openxmlformats.org/officeDocument/2006/relationships/tags" Target="../tags/tag286.xml"/><Relationship Id="rId70" Type="http://schemas.openxmlformats.org/officeDocument/2006/relationships/tags" Target="../tags/tag294.xml"/><Relationship Id="rId75" Type="http://schemas.openxmlformats.org/officeDocument/2006/relationships/tags" Target="../tags/tag299.xml"/><Relationship Id="rId83" Type="http://schemas.openxmlformats.org/officeDocument/2006/relationships/tags" Target="../tags/tag307.xml"/><Relationship Id="rId88" Type="http://schemas.openxmlformats.org/officeDocument/2006/relationships/tags" Target="../tags/tag312.xml"/><Relationship Id="rId91" Type="http://schemas.openxmlformats.org/officeDocument/2006/relationships/tags" Target="../tags/tag315.xml"/><Relationship Id="rId96" Type="http://schemas.openxmlformats.org/officeDocument/2006/relationships/tags" Target="../tags/tag320.xml"/><Relationship Id="rId1" Type="http://schemas.openxmlformats.org/officeDocument/2006/relationships/vmlDrawing" Target="../drawings/vmlDrawing51.vml"/><Relationship Id="rId6" Type="http://schemas.openxmlformats.org/officeDocument/2006/relationships/tags" Target="../tags/tag230.xml"/><Relationship Id="rId15" Type="http://schemas.openxmlformats.org/officeDocument/2006/relationships/tags" Target="../tags/tag239.xml"/><Relationship Id="rId23" Type="http://schemas.openxmlformats.org/officeDocument/2006/relationships/tags" Target="../tags/tag247.xml"/><Relationship Id="rId28" Type="http://schemas.openxmlformats.org/officeDocument/2006/relationships/tags" Target="../tags/tag252.xml"/><Relationship Id="rId36" Type="http://schemas.openxmlformats.org/officeDocument/2006/relationships/tags" Target="../tags/tag260.xml"/><Relationship Id="rId49" Type="http://schemas.openxmlformats.org/officeDocument/2006/relationships/tags" Target="../tags/tag273.xml"/><Relationship Id="rId57" Type="http://schemas.openxmlformats.org/officeDocument/2006/relationships/tags" Target="../tags/tag281.xml"/><Relationship Id="rId10" Type="http://schemas.openxmlformats.org/officeDocument/2006/relationships/tags" Target="../tags/tag234.xml"/><Relationship Id="rId31" Type="http://schemas.openxmlformats.org/officeDocument/2006/relationships/tags" Target="../tags/tag255.xml"/><Relationship Id="rId44" Type="http://schemas.openxmlformats.org/officeDocument/2006/relationships/tags" Target="../tags/tag268.xml"/><Relationship Id="rId52" Type="http://schemas.openxmlformats.org/officeDocument/2006/relationships/tags" Target="../tags/tag276.xml"/><Relationship Id="rId60" Type="http://schemas.openxmlformats.org/officeDocument/2006/relationships/tags" Target="../tags/tag284.xml"/><Relationship Id="rId65" Type="http://schemas.openxmlformats.org/officeDocument/2006/relationships/tags" Target="../tags/tag289.xml"/><Relationship Id="rId73" Type="http://schemas.openxmlformats.org/officeDocument/2006/relationships/tags" Target="../tags/tag297.xml"/><Relationship Id="rId78" Type="http://schemas.openxmlformats.org/officeDocument/2006/relationships/tags" Target="../tags/tag302.xml"/><Relationship Id="rId81" Type="http://schemas.openxmlformats.org/officeDocument/2006/relationships/tags" Target="../tags/tag305.xml"/><Relationship Id="rId86" Type="http://schemas.openxmlformats.org/officeDocument/2006/relationships/tags" Target="../tags/tag310.xml"/><Relationship Id="rId94" Type="http://schemas.openxmlformats.org/officeDocument/2006/relationships/tags" Target="../tags/tag318.xml"/><Relationship Id="rId99" Type="http://schemas.openxmlformats.org/officeDocument/2006/relationships/image" Target="../media/image12.emf"/><Relationship Id="rId4" Type="http://schemas.openxmlformats.org/officeDocument/2006/relationships/tags" Target="../tags/tag228.xml"/><Relationship Id="rId9" Type="http://schemas.openxmlformats.org/officeDocument/2006/relationships/tags" Target="../tags/tag233.xml"/><Relationship Id="rId13" Type="http://schemas.openxmlformats.org/officeDocument/2006/relationships/tags" Target="../tags/tag237.xml"/><Relationship Id="rId18" Type="http://schemas.openxmlformats.org/officeDocument/2006/relationships/tags" Target="../tags/tag242.xml"/><Relationship Id="rId39" Type="http://schemas.openxmlformats.org/officeDocument/2006/relationships/tags" Target="../tags/tag263.xml"/><Relationship Id="rId34" Type="http://schemas.openxmlformats.org/officeDocument/2006/relationships/tags" Target="../tags/tag258.xml"/><Relationship Id="rId50" Type="http://schemas.openxmlformats.org/officeDocument/2006/relationships/tags" Target="../tags/tag274.xml"/><Relationship Id="rId55" Type="http://schemas.openxmlformats.org/officeDocument/2006/relationships/tags" Target="../tags/tag279.xml"/><Relationship Id="rId76" Type="http://schemas.openxmlformats.org/officeDocument/2006/relationships/tags" Target="../tags/tag300.xml"/><Relationship Id="rId97" Type="http://schemas.openxmlformats.org/officeDocument/2006/relationships/slideMaster" Target="../slideMasters/slideMaster9.xml"/><Relationship Id="rId7" Type="http://schemas.openxmlformats.org/officeDocument/2006/relationships/tags" Target="../tags/tag231.xml"/><Relationship Id="rId71" Type="http://schemas.openxmlformats.org/officeDocument/2006/relationships/tags" Target="../tags/tag295.xml"/><Relationship Id="rId92" Type="http://schemas.openxmlformats.org/officeDocument/2006/relationships/tags" Target="../tags/tag316.xml"/><Relationship Id="rId2" Type="http://schemas.openxmlformats.org/officeDocument/2006/relationships/tags" Target="../tags/tag226.xml"/><Relationship Id="rId29" Type="http://schemas.openxmlformats.org/officeDocument/2006/relationships/tags" Target="../tags/tag253.xml"/><Relationship Id="rId24" Type="http://schemas.openxmlformats.org/officeDocument/2006/relationships/tags" Target="../tags/tag248.xml"/><Relationship Id="rId40" Type="http://schemas.openxmlformats.org/officeDocument/2006/relationships/tags" Target="../tags/tag264.xml"/><Relationship Id="rId45" Type="http://schemas.openxmlformats.org/officeDocument/2006/relationships/tags" Target="../tags/tag269.xml"/><Relationship Id="rId66" Type="http://schemas.openxmlformats.org/officeDocument/2006/relationships/tags" Target="../tags/tag290.xml"/><Relationship Id="rId87" Type="http://schemas.openxmlformats.org/officeDocument/2006/relationships/tags" Target="../tags/tag311.xml"/><Relationship Id="rId61" Type="http://schemas.openxmlformats.org/officeDocument/2006/relationships/tags" Target="../tags/tag285.xml"/><Relationship Id="rId82" Type="http://schemas.openxmlformats.org/officeDocument/2006/relationships/tags" Target="../tags/tag306.xml"/><Relationship Id="rId19" Type="http://schemas.openxmlformats.org/officeDocument/2006/relationships/tags" Target="../tags/tag243.xml"/><Relationship Id="rId14" Type="http://schemas.openxmlformats.org/officeDocument/2006/relationships/tags" Target="../tags/tag238.xml"/><Relationship Id="rId30" Type="http://schemas.openxmlformats.org/officeDocument/2006/relationships/tags" Target="../tags/tag254.xml"/><Relationship Id="rId35" Type="http://schemas.openxmlformats.org/officeDocument/2006/relationships/tags" Target="../tags/tag259.xml"/><Relationship Id="rId56" Type="http://schemas.openxmlformats.org/officeDocument/2006/relationships/tags" Target="../tags/tag280.xml"/><Relationship Id="rId77" Type="http://schemas.openxmlformats.org/officeDocument/2006/relationships/tags" Target="../tags/tag301.xml"/><Relationship Id="rId8" Type="http://schemas.openxmlformats.org/officeDocument/2006/relationships/tags" Target="../tags/tag232.xml"/><Relationship Id="rId51" Type="http://schemas.openxmlformats.org/officeDocument/2006/relationships/tags" Target="../tags/tag275.xml"/><Relationship Id="rId72" Type="http://schemas.openxmlformats.org/officeDocument/2006/relationships/tags" Target="../tags/tag296.xml"/><Relationship Id="rId93" Type="http://schemas.openxmlformats.org/officeDocument/2006/relationships/tags" Target="../tags/tag317.xml"/><Relationship Id="rId98" Type="http://schemas.openxmlformats.org/officeDocument/2006/relationships/oleObject" Target="../embeddings/oleObject51.bin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339.xml"/><Relationship Id="rId7" Type="http://schemas.openxmlformats.org/officeDocument/2006/relationships/image" Target="../media/image11.png"/><Relationship Id="rId2" Type="http://schemas.openxmlformats.org/officeDocument/2006/relationships/tags" Target="../tags/tag338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341.xml"/><Relationship Id="rId7" Type="http://schemas.openxmlformats.org/officeDocument/2006/relationships/image" Target="../media/image11.png"/><Relationship Id="rId2" Type="http://schemas.openxmlformats.org/officeDocument/2006/relationships/tags" Target="../tags/tag340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0.xml"/></Relationships>
</file>

<file path=ppt/slideLayouts/_rels/slideLayout52.xml.rels><?xml version="1.0" encoding="UTF-8" standalone="yes"?>
<Relationships xmlns="http://schemas.openxmlformats.org/package/2006/relationships"><Relationship Id="rId26" Type="http://schemas.openxmlformats.org/officeDocument/2006/relationships/tags" Target="../tags/tag366.xml"/><Relationship Id="rId21" Type="http://schemas.openxmlformats.org/officeDocument/2006/relationships/tags" Target="../tags/tag361.xml"/><Relationship Id="rId42" Type="http://schemas.openxmlformats.org/officeDocument/2006/relationships/tags" Target="../tags/tag382.xml"/><Relationship Id="rId47" Type="http://schemas.openxmlformats.org/officeDocument/2006/relationships/tags" Target="../tags/tag387.xml"/><Relationship Id="rId63" Type="http://schemas.openxmlformats.org/officeDocument/2006/relationships/tags" Target="../tags/tag403.xml"/><Relationship Id="rId68" Type="http://schemas.openxmlformats.org/officeDocument/2006/relationships/tags" Target="../tags/tag408.xml"/><Relationship Id="rId84" Type="http://schemas.openxmlformats.org/officeDocument/2006/relationships/tags" Target="../tags/tag424.xml"/><Relationship Id="rId89" Type="http://schemas.openxmlformats.org/officeDocument/2006/relationships/tags" Target="../tags/tag429.xml"/><Relationship Id="rId16" Type="http://schemas.openxmlformats.org/officeDocument/2006/relationships/tags" Target="../tags/tag356.xml"/><Relationship Id="rId107" Type="http://schemas.openxmlformats.org/officeDocument/2006/relationships/oleObject" Target="../embeddings/oleObject55.bin"/><Relationship Id="rId11" Type="http://schemas.openxmlformats.org/officeDocument/2006/relationships/tags" Target="../tags/tag351.xml"/><Relationship Id="rId32" Type="http://schemas.openxmlformats.org/officeDocument/2006/relationships/tags" Target="../tags/tag372.xml"/><Relationship Id="rId37" Type="http://schemas.openxmlformats.org/officeDocument/2006/relationships/tags" Target="../tags/tag377.xml"/><Relationship Id="rId53" Type="http://schemas.openxmlformats.org/officeDocument/2006/relationships/tags" Target="../tags/tag393.xml"/><Relationship Id="rId58" Type="http://schemas.openxmlformats.org/officeDocument/2006/relationships/tags" Target="../tags/tag398.xml"/><Relationship Id="rId74" Type="http://schemas.openxmlformats.org/officeDocument/2006/relationships/tags" Target="../tags/tag414.xml"/><Relationship Id="rId79" Type="http://schemas.openxmlformats.org/officeDocument/2006/relationships/tags" Target="../tags/tag419.xml"/><Relationship Id="rId102" Type="http://schemas.openxmlformats.org/officeDocument/2006/relationships/tags" Target="../tags/tag442.xml"/><Relationship Id="rId5" Type="http://schemas.openxmlformats.org/officeDocument/2006/relationships/tags" Target="../tags/tag345.xml"/><Relationship Id="rId90" Type="http://schemas.openxmlformats.org/officeDocument/2006/relationships/tags" Target="../tags/tag430.xml"/><Relationship Id="rId95" Type="http://schemas.openxmlformats.org/officeDocument/2006/relationships/tags" Target="../tags/tag435.xml"/><Relationship Id="rId22" Type="http://schemas.openxmlformats.org/officeDocument/2006/relationships/tags" Target="../tags/tag362.xml"/><Relationship Id="rId27" Type="http://schemas.openxmlformats.org/officeDocument/2006/relationships/tags" Target="../tags/tag367.xml"/><Relationship Id="rId43" Type="http://schemas.openxmlformats.org/officeDocument/2006/relationships/tags" Target="../tags/tag383.xml"/><Relationship Id="rId48" Type="http://schemas.openxmlformats.org/officeDocument/2006/relationships/tags" Target="../tags/tag388.xml"/><Relationship Id="rId64" Type="http://schemas.openxmlformats.org/officeDocument/2006/relationships/tags" Target="../tags/tag404.xml"/><Relationship Id="rId69" Type="http://schemas.openxmlformats.org/officeDocument/2006/relationships/tags" Target="../tags/tag409.xml"/><Relationship Id="rId80" Type="http://schemas.openxmlformats.org/officeDocument/2006/relationships/tags" Target="../tags/tag420.xml"/><Relationship Id="rId85" Type="http://schemas.openxmlformats.org/officeDocument/2006/relationships/tags" Target="../tags/tag425.xml"/><Relationship Id="rId12" Type="http://schemas.openxmlformats.org/officeDocument/2006/relationships/tags" Target="../tags/tag352.xml"/><Relationship Id="rId17" Type="http://schemas.openxmlformats.org/officeDocument/2006/relationships/tags" Target="../tags/tag357.xml"/><Relationship Id="rId33" Type="http://schemas.openxmlformats.org/officeDocument/2006/relationships/tags" Target="../tags/tag373.xml"/><Relationship Id="rId38" Type="http://schemas.openxmlformats.org/officeDocument/2006/relationships/tags" Target="../tags/tag378.xml"/><Relationship Id="rId59" Type="http://schemas.openxmlformats.org/officeDocument/2006/relationships/tags" Target="../tags/tag399.xml"/><Relationship Id="rId103" Type="http://schemas.openxmlformats.org/officeDocument/2006/relationships/tags" Target="../tags/tag443.xml"/><Relationship Id="rId108" Type="http://schemas.openxmlformats.org/officeDocument/2006/relationships/image" Target="../media/image12.emf"/><Relationship Id="rId20" Type="http://schemas.openxmlformats.org/officeDocument/2006/relationships/tags" Target="../tags/tag360.xml"/><Relationship Id="rId41" Type="http://schemas.openxmlformats.org/officeDocument/2006/relationships/tags" Target="../tags/tag381.xml"/><Relationship Id="rId54" Type="http://schemas.openxmlformats.org/officeDocument/2006/relationships/tags" Target="../tags/tag394.xml"/><Relationship Id="rId62" Type="http://schemas.openxmlformats.org/officeDocument/2006/relationships/tags" Target="../tags/tag402.xml"/><Relationship Id="rId70" Type="http://schemas.openxmlformats.org/officeDocument/2006/relationships/tags" Target="../tags/tag410.xml"/><Relationship Id="rId75" Type="http://schemas.openxmlformats.org/officeDocument/2006/relationships/tags" Target="../tags/tag415.xml"/><Relationship Id="rId83" Type="http://schemas.openxmlformats.org/officeDocument/2006/relationships/tags" Target="../tags/tag423.xml"/><Relationship Id="rId88" Type="http://schemas.openxmlformats.org/officeDocument/2006/relationships/tags" Target="../tags/tag428.xml"/><Relationship Id="rId91" Type="http://schemas.openxmlformats.org/officeDocument/2006/relationships/tags" Target="../tags/tag431.xml"/><Relationship Id="rId96" Type="http://schemas.openxmlformats.org/officeDocument/2006/relationships/tags" Target="../tags/tag436.xml"/><Relationship Id="rId1" Type="http://schemas.openxmlformats.org/officeDocument/2006/relationships/vmlDrawing" Target="../drawings/vmlDrawing55.vml"/><Relationship Id="rId6" Type="http://schemas.openxmlformats.org/officeDocument/2006/relationships/tags" Target="../tags/tag346.xml"/><Relationship Id="rId15" Type="http://schemas.openxmlformats.org/officeDocument/2006/relationships/tags" Target="../tags/tag355.xml"/><Relationship Id="rId23" Type="http://schemas.openxmlformats.org/officeDocument/2006/relationships/tags" Target="../tags/tag363.xml"/><Relationship Id="rId28" Type="http://schemas.openxmlformats.org/officeDocument/2006/relationships/tags" Target="../tags/tag368.xml"/><Relationship Id="rId36" Type="http://schemas.openxmlformats.org/officeDocument/2006/relationships/tags" Target="../tags/tag376.xml"/><Relationship Id="rId49" Type="http://schemas.openxmlformats.org/officeDocument/2006/relationships/tags" Target="../tags/tag389.xml"/><Relationship Id="rId57" Type="http://schemas.openxmlformats.org/officeDocument/2006/relationships/tags" Target="../tags/tag397.xml"/><Relationship Id="rId106" Type="http://schemas.openxmlformats.org/officeDocument/2006/relationships/slideMaster" Target="../slideMasters/slideMaster10.xml"/><Relationship Id="rId10" Type="http://schemas.openxmlformats.org/officeDocument/2006/relationships/tags" Target="../tags/tag350.xml"/><Relationship Id="rId31" Type="http://schemas.openxmlformats.org/officeDocument/2006/relationships/tags" Target="../tags/tag371.xml"/><Relationship Id="rId44" Type="http://schemas.openxmlformats.org/officeDocument/2006/relationships/tags" Target="../tags/tag384.xml"/><Relationship Id="rId52" Type="http://schemas.openxmlformats.org/officeDocument/2006/relationships/tags" Target="../tags/tag392.xml"/><Relationship Id="rId60" Type="http://schemas.openxmlformats.org/officeDocument/2006/relationships/tags" Target="../tags/tag400.xml"/><Relationship Id="rId65" Type="http://schemas.openxmlformats.org/officeDocument/2006/relationships/tags" Target="../tags/tag405.xml"/><Relationship Id="rId73" Type="http://schemas.openxmlformats.org/officeDocument/2006/relationships/tags" Target="../tags/tag413.xml"/><Relationship Id="rId78" Type="http://schemas.openxmlformats.org/officeDocument/2006/relationships/tags" Target="../tags/tag418.xml"/><Relationship Id="rId81" Type="http://schemas.openxmlformats.org/officeDocument/2006/relationships/tags" Target="../tags/tag421.xml"/><Relationship Id="rId86" Type="http://schemas.openxmlformats.org/officeDocument/2006/relationships/tags" Target="../tags/tag426.xml"/><Relationship Id="rId94" Type="http://schemas.openxmlformats.org/officeDocument/2006/relationships/tags" Target="../tags/tag434.xml"/><Relationship Id="rId99" Type="http://schemas.openxmlformats.org/officeDocument/2006/relationships/tags" Target="../tags/tag439.xml"/><Relationship Id="rId101" Type="http://schemas.openxmlformats.org/officeDocument/2006/relationships/tags" Target="../tags/tag441.xml"/><Relationship Id="rId4" Type="http://schemas.openxmlformats.org/officeDocument/2006/relationships/tags" Target="../tags/tag344.xml"/><Relationship Id="rId9" Type="http://schemas.openxmlformats.org/officeDocument/2006/relationships/tags" Target="../tags/tag349.xml"/><Relationship Id="rId13" Type="http://schemas.openxmlformats.org/officeDocument/2006/relationships/tags" Target="../tags/tag353.xml"/><Relationship Id="rId18" Type="http://schemas.openxmlformats.org/officeDocument/2006/relationships/tags" Target="../tags/tag358.xml"/><Relationship Id="rId39" Type="http://schemas.openxmlformats.org/officeDocument/2006/relationships/tags" Target="../tags/tag379.xml"/><Relationship Id="rId34" Type="http://schemas.openxmlformats.org/officeDocument/2006/relationships/tags" Target="../tags/tag374.xml"/><Relationship Id="rId50" Type="http://schemas.openxmlformats.org/officeDocument/2006/relationships/tags" Target="../tags/tag390.xml"/><Relationship Id="rId55" Type="http://schemas.openxmlformats.org/officeDocument/2006/relationships/tags" Target="../tags/tag395.xml"/><Relationship Id="rId76" Type="http://schemas.openxmlformats.org/officeDocument/2006/relationships/tags" Target="../tags/tag416.xml"/><Relationship Id="rId97" Type="http://schemas.openxmlformats.org/officeDocument/2006/relationships/tags" Target="../tags/tag437.xml"/><Relationship Id="rId104" Type="http://schemas.openxmlformats.org/officeDocument/2006/relationships/tags" Target="../tags/tag444.xml"/><Relationship Id="rId7" Type="http://schemas.openxmlformats.org/officeDocument/2006/relationships/tags" Target="../tags/tag347.xml"/><Relationship Id="rId71" Type="http://schemas.openxmlformats.org/officeDocument/2006/relationships/tags" Target="../tags/tag411.xml"/><Relationship Id="rId92" Type="http://schemas.openxmlformats.org/officeDocument/2006/relationships/tags" Target="../tags/tag432.xml"/><Relationship Id="rId2" Type="http://schemas.openxmlformats.org/officeDocument/2006/relationships/tags" Target="../tags/tag342.xml"/><Relationship Id="rId29" Type="http://schemas.openxmlformats.org/officeDocument/2006/relationships/tags" Target="../tags/tag369.xml"/><Relationship Id="rId24" Type="http://schemas.openxmlformats.org/officeDocument/2006/relationships/tags" Target="../tags/tag364.xml"/><Relationship Id="rId40" Type="http://schemas.openxmlformats.org/officeDocument/2006/relationships/tags" Target="../tags/tag380.xml"/><Relationship Id="rId45" Type="http://schemas.openxmlformats.org/officeDocument/2006/relationships/tags" Target="../tags/tag385.xml"/><Relationship Id="rId66" Type="http://schemas.openxmlformats.org/officeDocument/2006/relationships/tags" Target="../tags/tag406.xml"/><Relationship Id="rId87" Type="http://schemas.openxmlformats.org/officeDocument/2006/relationships/tags" Target="../tags/tag427.xml"/><Relationship Id="rId61" Type="http://schemas.openxmlformats.org/officeDocument/2006/relationships/tags" Target="../tags/tag401.xml"/><Relationship Id="rId82" Type="http://schemas.openxmlformats.org/officeDocument/2006/relationships/tags" Target="../tags/tag422.xml"/><Relationship Id="rId19" Type="http://schemas.openxmlformats.org/officeDocument/2006/relationships/tags" Target="../tags/tag359.xml"/><Relationship Id="rId14" Type="http://schemas.openxmlformats.org/officeDocument/2006/relationships/tags" Target="../tags/tag354.xml"/><Relationship Id="rId30" Type="http://schemas.openxmlformats.org/officeDocument/2006/relationships/tags" Target="../tags/tag370.xml"/><Relationship Id="rId35" Type="http://schemas.openxmlformats.org/officeDocument/2006/relationships/tags" Target="../tags/tag375.xml"/><Relationship Id="rId56" Type="http://schemas.openxmlformats.org/officeDocument/2006/relationships/tags" Target="../tags/tag396.xml"/><Relationship Id="rId77" Type="http://schemas.openxmlformats.org/officeDocument/2006/relationships/tags" Target="../tags/tag417.xml"/><Relationship Id="rId100" Type="http://schemas.openxmlformats.org/officeDocument/2006/relationships/tags" Target="../tags/tag440.xml"/><Relationship Id="rId105" Type="http://schemas.openxmlformats.org/officeDocument/2006/relationships/tags" Target="../tags/tag445.xml"/><Relationship Id="rId8" Type="http://schemas.openxmlformats.org/officeDocument/2006/relationships/tags" Target="../tags/tag348.xml"/><Relationship Id="rId51" Type="http://schemas.openxmlformats.org/officeDocument/2006/relationships/tags" Target="../tags/tag391.xml"/><Relationship Id="rId72" Type="http://schemas.openxmlformats.org/officeDocument/2006/relationships/tags" Target="../tags/tag412.xml"/><Relationship Id="rId93" Type="http://schemas.openxmlformats.org/officeDocument/2006/relationships/tags" Target="../tags/tag433.xml"/><Relationship Id="rId98" Type="http://schemas.openxmlformats.org/officeDocument/2006/relationships/tags" Target="../tags/tag438.xml"/><Relationship Id="rId3" Type="http://schemas.openxmlformats.org/officeDocument/2006/relationships/tags" Target="../tags/tag343.xml"/><Relationship Id="rId25" Type="http://schemas.openxmlformats.org/officeDocument/2006/relationships/tags" Target="../tags/tag365.xml"/><Relationship Id="rId46" Type="http://schemas.openxmlformats.org/officeDocument/2006/relationships/tags" Target="../tags/tag386.xml"/><Relationship Id="rId67" Type="http://schemas.openxmlformats.org/officeDocument/2006/relationships/tags" Target="../tags/tag407.xml"/></Relationships>
</file>

<file path=ppt/slideLayouts/_rels/slideLayout53.xml.rels><?xml version="1.0" encoding="UTF-8" standalone="yes"?>
<Relationships xmlns="http://schemas.openxmlformats.org/package/2006/relationships"><Relationship Id="rId26" Type="http://schemas.openxmlformats.org/officeDocument/2006/relationships/tags" Target="../tags/tag470.xml"/><Relationship Id="rId21" Type="http://schemas.openxmlformats.org/officeDocument/2006/relationships/tags" Target="../tags/tag465.xml"/><Relationship Id="rId42" Type="http://schemas.openxmlformats.org/officeDocument/2006/relationships/tags" Target="../tags/tag486.xml"/><Relationship Id="rId47" Type="http://schemas.openxmlformats.org/officeDocument/2006/relationships/tags" Target="../tags/tag491.xml"/><Relationship Id="rId63" Type="http://schemas.openxmlformats.org/officeDocument/2006/relationships/tags" Target="../tags/tag507.xml"/><Relationship Id="rId68" Type="http://schemas.openxmlformats.org/officeDocument/2006/relationships/tags" Target="../tags/tag512.xml"/><Relationship Id="rId84" Type="http://schemas.openxmlformats.org/officeDocument/2006/relationships/tags" Target="../tags/tag528.xml"/><Relationship Id="rId89" Type="http://schemas.openxmlformats.org/officeDocument/2006/relationships/tags" Target="../tags/tag533.xml"/><Relationship Id="rId16" Type="http://schemas.openxmlformats.org/officeDocument/2006/relationships/tags" Target="../tags/tag460.xml"/><Relationship Id="rId107" Type="http://schemas.openxmlformats.org/officeDocument/2006/relationships/oleObject" Target="../embeddings/oleObject56.bin"/><Relationship Id="rId11" Type="http://schemas.openxmlformats.org/officeDocument/2006/relationships/tags" Target="../tags/tag455.xml"/><Relationship Id="rId32" Type="http://schemas.openxmlformats.org/officeDocument/2006/relationships/tags" Target="../tags/tag476.xml"/><Relationship Id="rId37" Type="http://schemas.openxmlformats.org/officeDocument/2006/relationships/tags" Target="../tags/tag481.xml"/><Relationship Id="rId53" Type="http://schemas.openxmlformats.org/officeDocument/2006/relationships/tags" Target="../tags/tag497.xml"/><Relationship Id="rId58" Type="http://schemas.openxmlformats.org/officeDocument/2006/relationships/tags" Target="../tags/tag502.xml"/><Relationship Id="rId74" Type="http://schemas.openxmlformats.org/officeDocument/2006/relationships/tags" Target="../tags/tag518.xml"/><Relationship Id="rId79" Type="http://schemas.openxmlformats.org/officeDocument/2006/relationships/tags" Target="../tags/tag523.xml"/><Relationship Id="rId102" Type="http://schemas.openxmlformats.org/officeDocument/2006/relationships/tags" Target="../tags/tag546.xml"/><Relationship Id="rId5" Type="http://schemas.openxmlformats.org/officeDocument/2006/relationships/tags" Target="../tags/tag449.xml"/><Relationship Id="rId90" Type="http://schemas.openxmlformats.org/officeDocument/2006/relationships/tags" Target="../tags/tag534.xml"/><Relationship Id="rId95" Type="http://schemas.openxmlformats.org/officeDocument/2006/relationships/tags" Target="../tags/tag539.xml"/><Relationship Id="rId22" Type="http://schemas.openxmlformats.org/officeDocument/2006/relationships/tags" Target="../tags/tag466.xml"/><Relationship Id="rId27" Type="http://schemas.openxmlformats.org/officeDocument/2006/relationships/tags" Target="../tags/tag471.xml"/><Relationship Id="rId43" Type="http://schemas.openxmlformats.org/officeDocument/2006/relationships/tags" Target="../tags/tag487.xml"/><Relationship Id="rId48" Type="http://schemas.openxmlformats.org/officeDocument/2006/relationships/tags" Target="../tags/tag492.xml"/><Relationship Id="rId64" Type="http://schemas.openxmlformats.org/officeDocument/2006/relationships/tags" Target="../tags/tag508.xml"/><Relationship Id="rId69" Type="http://schemas.openxmlformats.org/officeDocument/2006/relationships/tags" Target="../tags/tag513.xml"/><Relationship Id="rId80" Type="http://schemas.openxmlformats.org/officeDocument/2006/relationships/tags" Target="../tags/tag524.xml"/><Relationship Id="rId85" Type="http://schemas.openxmlformats.org/officeDocument/2006/relationships/tags" Target="../tags/tag529.xml"/><Relationship Id="rId12" Type="http://schemas.openxmlformats.org/officeDocument/2006/relationships/tags" Target="../tags/tag456.xml"/><Relationship Id="rId17" Type="http://schemas.openxmlformats.org/officeDocument/2006/relationships/tags" Target="../tags/tag461.xml"/><Relationship Id="rId33" Type="http://schemas.openxmlformats.org/officeDocument/2006/relationships/tags" Target="../tags/tag477.xml"/><Relationship Id="rId38" Type="http://schemas.openxmlformats.org/officeDocument/2006/relationships/tags" Target="../tags/tag482.xml"/><Relationship Id="rId59" Type="http://schemas.openxmlformats.org/officeDocument/2006/relationships/tags" Target="../tags/tag503.xml"/><Relationship Id="rId103" Type="http://schemas.openxmlformats.org/officeDocument/2006/relationships/tags" Target="../tags/tag547.xml"/><Relationship Id="rId108" Type="http://schemas.openxmlformats.org/officeDocument/2006/relationships/image" Target="../media/image12.emf"/><Relationship Id="rId20" Type="http://schemas.openxmlformats.org/officeDocument/2006/relationships/tags" Target="../tags/tag464.xml"/><Relationship Id="rId41" Type="http://schemas.openxmlformats.org/officeDocument/2006/relationships/tags" Target="../tags/tag485.xml"/><Relationship Id="rId54" Type="http://schemas.openxmlformats.org/officeDocument/2006/relationships/tags" Target="../tags/tag498.xml"/><Relationship Id="rId62" Type="http://schemas.openxmlformats.org/officeDocument/2006/relationships/tags" Target="../tags/tag506.xml"/><Relationship Id="rId70" Type="http://schemas.openxmlformats.org/officeDocument/2006/relationships/tags" Target="../tags/tag514.xml"/><Relationship Id="rId75" Type="http://schemas.openxmlformats.org/officeDocument/2006/relationships/tags" Target="../tags/tag519.xml"/><Relationship Id="rId83" Type="http://schemas.openxmlformats.org/officeDocument/2006/relationships/tags" Target="../tags/tag527.xml"/><Relationship Id="rId88" Type="http://schemas.openxmlformats.org/officeDocument/2006/relationships/tags" Target="../tags/tag532.xml"/><Relationship Id="rId91" Type="http://schemas.openxmlformats.org/officeDocument/2006/relationships/tags" Target="../tags/tag535.xml"/><Relationship Id="rId96" Type="http://schemas.openxmlformats.org/officeDocument/2006/relationships/tags" Target="../tags/tag540.xml"/><Relationship Id="rId1" Type="http://schemas.openxmlformats.org/officeDocument/2006/relationships/vmlDrawing" Target="../drawings/vmlDrawing56.vml"/><Relationship Id="rId6" Type="http://schemas.openxmlformats.org/officeDocument/2006/relationships/tags" Target="../tags/tag450.xml"/><Relationship Id="rId15" Type="http://schemas.openxmlformats.org/officeDocument/2006/relationships/tags" Target="../tags/tag459.xml"/><Relationship Id="rId23" Type="http://schemas.openxmlformats.org/officeDocument/2006/relationships/tags" Target="../tags/tag467.xml"/><Relationship Id="rId28" Type="http://schemas.openxmlformats.org/officeDocument/2006/relationships/tags" Target="../tags/tag472.xml"/><Relationship Id="rId36" Type="http://schemas.openxmlformats.org/officeDocument/2006/relationships/tags" Target="../tags/tag480.xml"/><Relationship Id="rId49" Type="http://schemas.openxmlformats.org/officeDocument/2006/relationships/tags" Target="../tags/tag493.xml"/><Relationship Id="rId57" Type="http://schemas.openxmlformats.org/officeDocument/2006/relationships/tags" Target="../tags/tag501.xml"/><Relationship Id="rId106" Type="http://schemas.openxmlformats.org/officeDocument/2006/relationships/slideMaster" Target="../slideMasters/slideMaster10.xml"/><Relationship Id="rId10" Type="http://schemas.openxmlformats.org/officeDocument/2006/relationships/tags" Target="../tags/tag454.xml"/><Relationship Id="rId31" Type="http://schemas.openxmlformats.org/officeDocument/2006/relationships/tags" Target="../tags/tag475.xml"/><Relationship Id="rId44" Type="http://schemas.openxmlformats.org/officeDocument/2006/relationships/tags" Target="../tags/tag488.xml"/><Relationship Id="rId52" Type="http://schemas.openxmlformats.org/officeDocument/2006/relationships/tags" Target="../tags/tag496.xml"/><Relationship Id="rId60" Type="http://schemas.openxmlformats.org/officeDocument/2006/relationships/tags" Target="../tags/tag504.xml"/><Relationship Id="rId65" Type="http://schemas.openxmlformats.org/officeDocument/2006/relationships/tags" Target="../tags/tag509.xml"/><Relationship Id="rId73" Type="http://schemas.openxmlformats.org/officeDocument/2006/relationships/tags" Target="../tags/tag517.xml"/><Relationship Id="rId78" Type="http://schemas.openxmlformats.org/officeDocument/2006/relationships/tags" Target="../tags/tag522.xml"/><Relationship Id="rId81" Type="http://schemas.openxmlformats.org/officeDocument/2006/relationships/tags" Target="../tags/tag525.xml"/><Relationship Id="rId86" Type="http://schemas.openxmlformats.org/officeDocument/2006/relationships/tags" Target="../tags/tag530.xml"/><Relationship Id="rId94" Type="http://schemas.openxmlformats.org/officeDocument/2006/relationships/tags" Target="../tags/tag538.xml"/><Relationship Id="rId99" Type="http://schemas.openxmlformats.org/officeDocument/2006/relationships/tags" Target="../tags/tag543.xml"/><Relationship Id="rId101" Type="http://schemas.openxmlformats.org/officeDocument/2006/relationships/tags" Target="../tags/tag545.xml"/><Relationship Id="rId4" Type="http://schemas.openxmlformats.org/officeDocument/2006/relationships/tags" Target="../tags/tag448.xml"/><Relationship Id="rId9" Type="http://schemas.openxmlformats.org/officeDocument/2006/relationships/tags" Target="../tags/tag453.xml"/><Relationship Id="rId13" Type="http://schemas.openxmlformats.org/officeDocument/2006/relationships/tags" Target="../tags/tag457.xml"/><Relationship Id="rId18" Type="http://schemas.openxmlformats.org/officeDocument/2006/relationships/tags" Target="../tags/tag462.xml"/><Relationship Id="rId39" Type="http://schemas.openxmlformats.org/officeDocument/2006/relationships/tags" Target="../tags/tag483.xml"/><Relationship Id="rId34" Type="http://schemas.openxmlformats.org/officeDocument/2006/relationships/tags" Target="../tags/tag478.xml"/><Relationship Id="rId50" Type="http://schemas.openxmlformats.org/officeDocument/2006/relationships/tags" Target="../tags/tag494.xml"/><Relationship Id="rId55" Type="http://schemas.openxmlformats.org/officeDocument/2006/relationships/tags" Target="../tags/tag499.xml"/><Relationship Id="rId76" Type="http://schemas.openxmlformats.org/officeDocument/2006/relationships/tags" Target="../tags/tag520.xml"/><Relationship Id="rId97" Type="http://schemas.openxmlformats.org/officeDocument/2006/relationships/tags" Target="../tags/tag541.xml"/><Relationship Id="rId104" Type="http://schemas.openxmlformats.org/officeDocument/2006/relationships/tags" Target="../tags/tag548.xml"/><Relationship Id="rId7" Type="http://schemas.openxmlformats.org/officeDocument/2006/relationships/tags" Target="../tags/tag451.xml"/><Relationship Id="rId71" Type="http://schemas.openxmlformats.org/officeDocument/2006/relationships/tags" Target="../tags/tag515.xml"/><Relationship Id="rId92" Type="http://schemas.openxmlformats.org/officeDocument/2006/relationships/tags" Target="../tags/tag536.xml"/><Relationship Id="rId2" Type="http://schemas.openxmlformats.org/officeDocument/2006/relationships/tags" Target="../tags/tag446.xml"/><Relationship Id="rId29" Type="http://schemas.openxmlformats.org/officeDocument/2006/relationships/tags" Target="../tags/tag473.xml"/><Relationship Id="rId24" Type="http://schemas.openxmlformats.org/officeDocument/2006/relationships/tags" Target="../tags/tag468.xml"/><Relationship Id="rId40" Type="http://schemas.openxmlformats.org/officeDocument/2006/relationships/tags" Target="../tags/tag484.xml"/><Relationship Id="rId45" Type="http://schemas.openxmlformats.org/officeDocument/2006/relationships/tags" Target="../tags/tag489.xml"/><Relationship Id="rId66" Type="http://schemas.openxmlformats.org/officeDocument/2006/relationships/tags" Target="../tags/tag510.xml"/><Relationship Id="rId87" Type="http://schemas.openxmlformats.org/officeDocument/2006/relationships/tags" Target="../tags/tag531.xml"/><Relationship Id="rId61" Type="http://schemas.openxmlformats.org/officeDocument/2006/relationships/tags" Target="../tags/tag505.xml"/><Relationship Id="rId82" Type="http://schemas.openxmlformats.org/officeDocument/2006/relationships/tags" Target="../tags/tag526.xml"/><Relationship Id="rId19" Type="http://schemas.openxmlformats.org/officeDocument/2006/relationships/tags" Target="../tags/tag463.xml"/><Relationship Id="rId14" Type="http://schemas.openxmlformats.org/officeDocument/2006/relationships/tags" Target="../tags/tag458.xml"/><Relationship Id="rId30" Type="http://schemas.openxmlformats.org/officeDocument/2006/relationships/tags" Target="../tags/tag474.xml"/><Relationship Id="rId35" Type="http://schemas.openxmlformats.org/officeDocument/2006/relationships/tags" Target="../tags/tag479.xml"/><Relationship Id="rId56" Type="http://schemas.openxmlformats.org/officeDocument/2006/relationships/tags" Target="../tags/tag500.xml"/><Relationship Id="rId77" Type="http://schemas.openxmlformats.org/officeDocument/2006/relationships/tags" Target="../tags/tag521.xml"/><Relationship Id="rId100" Type="http://schemas.openxmlformats.org/officeDocument/2006/relationships/tags" Target="../tags/tag544.xml"/><Relationship Id="rId105" Type="http://schemas.openxmlformats.org/officeDocument/2006/relationships/tags" Target="../tags/tag549.xml"/><Relationship Id="rId8" Type="http://schemas.openxmlformats.org/officeDocument/2006/relationships/tags" Target="../tags/tag452.xml"/><Relationship Id="rId51" Type="http://schemas.openxmlformats.org/officeDocument/2006/relationships/tags" Target="../tags/tag495.xml"/><Relationship Id="rId72" Type="http://schemas.openxmlformats.org/officeDocument/2006/relationships/tags" Target="../tags/tag516.xml"/><Relationship Id="rId93" Type="http://schemas.openxmlformats.org/officeDocument/2006/relationships/tags" Target="../tags/tag537.xml"/><Relationship Id="rId98" Type="http://schemas.openxmlformats.org/officeDocument/2006/relationships/tags" Target="../tags/tag542.xml"/><Relationship Id="rId3" Type="http://schemas.openxmlformats.org/officeDocument/2006/relationships/tags" Target="../tags/tag447.xml"/><Relationship Id="rId25" Type="http://schemas.openxmlformats.org/officeDocument/2006/relationships/tags" Target="../tags/tag469.xml"/><Relationship Id="rId46" Type="http://schemas.openxmlformats.org/officeDocument/2006/relationships/tags" Target="../tags/tag490.xml"/><Relationship Id="rId67" Type="http://schemas.openxmlformats.org/officeDocument/2006/relationships/tags" Target="../tags/tag511.xml"/></Relationships>
</file>

<file path=ppt/slideLayouts/_rels/slideLayout54.xml.rels><?xml version="1.0" encoding="UTF-8" standalone="yes"?>
<Relationships xmlns="http://schemas.openxmlformats.org/package/2006/relationships"><Relationship Id="rId26" Type="http://schemas.openxmlformats.org/officeDocument/2006/relationships/tags" Target="../tags/tag574.xml"/><Relationship Id="rId21" Type="http://schemas.openxmlformats.org/officeDocument/2006/relationships/tags" Target="../tags/tag569.xml"/><Relationship Id="rId42" Type="http://schemas.openxmlformats.org/officeDocument/2006/relationships/tags" Target="../tags/tag590.xml"/><Relationship Id="rId47" Type="http://schemas.openxmlformats.org/officeDocument/2006/relationships/tags" Target="../tags/tag595.xml"/><Relationship Id="rId63" Type="http://schemas.openxmlformats.org/officeDocument/2006/relationships/tags" Target="../tags/tag611.xml"/><Relationship Id="rId68" Type="http://schemas.openxmlformats.org/officeDocument/2006/relationships/tags" Target="../tags/tag616.xml"/><Relationship Id="rId84" Type="http://schemas.openxmlformats.org/officeDocument/2006/relationships/tags" Target="../tags/tag632.xml"/><Relationship Id="rId89" Type="http://schemas.openxmlformats.org/officeDocument/2006/relationships/tags" Target="../tags/tag637.xml"/><Relationship Id="rId16" Type="http://schemas.openxmlformats.org/officeDocument/2006/relationships/tags" Target="../tags/tag564.xml"/><Relationship Id="rId11" Type="http://schemas.openxmlformats.org/officeDocument/2006/relationships/tags" Target="../tags/tag559.xml"/><Relationship Id="rId32" Type="http://schemas.openxmlformats.org/officeDocument/2006/relationships/tags" Target="../tags/tag580.xml"/><Relationship Id="rId37" Type="http://schemas.openxmlformats.org/officeDocument/2006/relationships/tags" Target="../tags/tag585.xml"/><Relationship Id="rId53" Type="http://schemas.openxmlformats.org/officeDocument/2006/relationships/tags" Target="../tags/tag601.xml"/><Relationship Id="rId58" Type="http://schemas.openxmlformats.org/officeDocument/2006/relationships/tags" Target="../tags/tag606.xml"/><Relationship Id="rId74" Type="http://schemas.openxmlformats.org/officeDocument/2006/relationships/tags" Target="../tags/tag622.xml"/><Relationship Id="rId79" Type="http://schemas.openxmlformats.org/officeDocument/2006/relationships/tags" Target="../tags/tag627.xml"/><Relationship Id="rId102" Type="http://schemas.openxmlformats.org/officeDocument/2006/relationships/tags" Target="../tags/tag650.xml"/><Relationship Id="rId5" Type="http://schemas.openxmlformats.org/officeDocument/2006/relationships/tags" Target="../tags/tag553.xml"/><Relationship Id="rId90" Type="http://schemas.openxmlformats.org/officeDocument/2006/relationships/tags" Target="../tags/tag638.xml"/><Relationship Id="rId95" Type="http://schemas.openxmlformats.org/officeDocument/2006/relationships/tags" Target="../tags/tag643.xml"/><Relationship Id="rId22" Type="http://schemas.openxmlformats.org/officeDocument/2006/relationships/tags" Target="../tags/tag570.xml"/><Relationship Id="rId27" Type="http://schemas.openxmlformats.org/officeDocument/2006/relationships/tags" Target="../tags/tag575.xml"/><Relationship Id="rId43" Type="http://schemas.openxmlformats.org/officeDocument/2006/relationships/tags" Target="../tags/tag591.xml"/><Relationship Id="rId48" Type="http://schemas.openxmlformats.org/officeDocument/2006/relationships/tags" Target="../tags/tag596.xml"/><Relationship Id="rId64" Type="http://schemas.openxmlformats.org/officeDocument/2006/relationships/tags" Target="../tags/tag612.xml"/><Relationship Id="rId69" Type="http://schemas.openxmlformats.org/officeDocument/2006/relationships/tags" Target="../tags/tag617.xml"/><Relationship Id="rId80" Type="http://schemas.openxmlformats.org/officeDocument/2006/relationships/tags" Target="../tags/tag628.xml"/><Relationship Id="rId85" Type="http://schemas.openxmlformats.org/officeDocument/2006/relationships/tags" Target="../tags/tag633.xml"/><Relationship Id="rId12" Type="http://schemas.openxmlformats.org/officeDocument/2006/relationships/tags" Target="../tags/tag560.xml"/><Relationship Id="rId17" Type="http://schemas.openxmlformats.org/officeDocument/2006/relationships/tags" Target="../tags/tag565.xml"/><Relationship Id="rId33" Type="http://schemas.openxmlformats.org/officeDocument/2006/relationships/tags" Target="../tags/tag581.xml"/><Relationship Id="rId38" Type="http://schemas.openxmlformats.org/officeDocument/2006/relationships/tags" Target="../tags/tag586.xml"/><Relationship Id="rId59" Type="http://schemas.openxmlformats.org/officeDocument/2006/relationships/tags" Target="../tags/tag607.xml"/><Relationship Id="rId103" Type="http://schemas.openxmlformats.org/officeDocument/2006/relationships/tags" Target="../tags/tag651.xml"/><Relationship Id="rId20" Type="http://schemas.openxmlformats.org/officeDocument/2006/relationships/tags" Target="../tags/tag568.xml"/><Relationship Id="rId41" Type="http://schemas.openxmlformats.org/officeDocument/2006/relationships/tags" Target="../tags/tag589.xml"/><Relationship Id="rId54" Type="http://schemas.openxmlformats.org/officeDocument/2006/relationships/tags" Target="../tags/tag602.xml"/><Relationship Id="rId62" Type="http://schemas.openxmlformats.org/officeDocument/2006/relationships/tags" Target="../tags/tag610.xml"/><Relationship Id="rId70" Type="http://schemas.openxmlformats.org/officeDocument/2006/relationships/tags" Target="../tags/tag618.xml"/><Relationship Id="rId75" Type="http://schemas.openxmlformats.org/officeDocument/2006/relationships/tags" Target="../tags/tag623.xml"/><Relationship Id="rId83" Type="http://schemas.openxmlformats.org/officeDocument/2006/relationships/tags" Target="../tags/tag631.xml"/><Relationship Id="rId88" Type="http://schemas.openxmlformats.org/officeDocument/2006/relationships/tags" Target="../tags/tag636.xml"/><Relationship Id="rId91" Type="http://schemas.openxmlformats.org/officeDocument/2006/relationships/tags" Target="../tags/tag639.xml"/><Relationship Id="rId96" Type="http://schemas.openxmlformats.org/officeDocument/2006/relationships/tags" Target="../tags/tag644.xml"/><Relationship Id="rId1" Type="http://schemas.openxmlformats.org/officeDocument/2006/relationships/vmlDrawing" Target="../drawings/vmlDrawing57.vml"/><Relationship Id="rId6" Type="http://schemas.openxmlformats.org/officeDocument/2006/relationships/tags" Target="../tags/tag554.xml"/><Relationship Id="rId15" Type="http://schemas.openxmlformats.org/officeDocument/2006/relationships/tags" Target="../tags/tag563.xml"/><Relationship Id="rId23" Type="http://schemas.openxmlformats.org/officeDocument/2006/relationships/tags" Target="../tags/tag571.xml"/><Relationship Id="rId28" Type="http://schemas.openxmlformats.org/officeDocument/2006/relationships/tags" Target="../tags/tag576.xml"/><Relationship Id="rId36" Type="http://schemas.openxmlformats.org/officeDocument/2006/relationships/tags" Target="../tags/tag584.xml"/><Relationship Id="rId49" Type="http://schemas.openxmlformats.org/officeDocument/2006/relationships/tags" Target="../tags/tag597.xml"/><Relationship Id="rId57" Type="http://schemas.openxmlformats.org/officeDocument/2006/relationships/tags" Target="../tags/tag605.xml"/><Relationship Id="rId106" Type="http://schemas.openxmlformats.org/officeDocument/2006/relationships/image" Target="../media/image12.emf"/><Relationship Id="rId10" Type="http://schemas.openxmlformats.org/officeDocument/2006/relationships/tags" Target="../tags/tag558.xml"/><Relationship Id="rId31" Type="http://schemas.openxmlformats.org/officeDocument/2006/relationships/tags" Target="../tags/tag579.xml"/><Relationship Id="rId44" Type="http://schemas.openxmlformats.org/officeDocument/2006/relationships/tags" Target="../tags/tag592.xml"/><Relationship Id="rId52" Type="http://schemas.openxmlformats.org/officeDocument/2006/relationships/tags" Target="../tags/tag600.xml"/><Relationship Id="rId60" Type="http://schemas.openxmlformats.org/officeDocument/2006/relationships/tags" Target="../tags/tag608.xml"/><Relationship Id="rId65" Type="http://schemas.openxmlformats.org/officeDocument/2006/relationships/tags" Target="../tags/tag613.xml"/><Relationship Id="rId73" Type="http://schemas.openxmlformats.org/officeDocument/2006/relationships/tags" Target="../tags/tag621.xml"/><Relationship Id="rId78" Type="http://schemas.openxmlformats.org/officeDocument/2006/relationships/tags" Target="../tags/tag626.xml"/><Relationship Id="rId81" Type="http://schemas.openxmlformats.org/officeDocument/2006/relationships/tags" Target="../tags/tag629.xml"/><Relationship Id="rId86" Type="http://schemas.openxmlformats.org/officeDocument/2006/relationships/tags" Target="../tags/tag634.xml"/><Relationship Id="rId94" Type="http://schemas.openxmlformats.org/officeDocument/2006/relationships/tags" Target="../tags/tag642.xml"/><Relationship Id="rId99" Type="http://schemas.openxmlformats.org/officeDocument/2006/relationships/tags" Target="../tags/tag647.xml"/><Relationship Id="rId101" Type="http://schemas.openxmlformats.org/officeDocument/2006/relationships/tags" Target="../tags/tag649.xml"/><Relationship Id="rId4" Type="http://schemas.openxmlformats.org/officeDocument/2006/relationships/tags" Target="../tags/tag552.xml"/><Relationship Id="rId9" Type="http://schemas.openxmlformats.org/officeDocument/2006/relationships/tags" Target="../tags/tag557.xml"/><Relationship Id="rId13" Type="http://schemas.openxmlformats.org/officeDocument/2006/relationships/tags" Target="../tags/tag561.xml"/><Relationship Id="rId18" Type="http://schemas.openxmlformats.org/officeDocument/2006/relationships/tags" Target="../tags/tag566.xml"/><Relationship Id="rId39" Type="http://schemas.openxmlformats.org/officeDocument/2006/relationships/tags" Target="../tags/tag587.xml"/><Relationship Id="rId34" Type="http://schemas.openxmlformats.org/officeDocument/2006/relationships/tags" Target="../tags/tag582.xml"/><Relationship Id="rId50" Type="http://schemas.openxmlformats.org/officeDocument/2006/relationships/tags" Target="../tags/tag598.xml"/><Relationship Id="rId55" Type="http://schemas.openxmlformats.org/officeDocument/2006/relationships/tags" Target="../tags/tag603.xml"/><Relationship Id="rId76" Type="http://schemas.openxmlformats.org/officeDocument/2006/relationships/tags" Target="../tags/tag624.xml"/><Relationship Id="rId97" Type="http://schemas.openxmlformats.org/officeDocument/2006/relationships/tags" Target="../tags/tag645.xml"/><Relationship Id="rId104" Type="http://schemas.openxmlformats.org/officeDocument/2006/relationships/slideMaster" Target="../slideMasters/slideMaster10.xml"/><Relationship Id="rId7" Type="http://schemas.openxmlformats.org/officeDocument/2006/relationships/tags" Target="../tags/tag555.xml"/><Relationship Id="rId71" Type="http://schemas.openxmlformats.org/officeDocument/2006/relationships/tags" Target="../tags/tag619.xml"/><Relationship Id="rId92" Type="http://schemas.openxmlformats.org/officeDocument/2006/relationships/tags" Target="../tags/tag640.xml"/><Relationship Id="rId2" Type="http://schemas.openxmlformats.org/officeDocument/2006/relationships/tags" Target="../tags/tag550.xml"/><Relationship Id="rId29" Type="http://schemas.openxmlformats.org/officeDocument/2006/relationships/tags" Target="../tags/tag577.xml"/><Relationship Id="rId24" Type="http://schemas.openxmlformats.org/officeDocument/2006/relationships/tags" Target="../tags/tag572.xml"/><Relationship Id="rId40" Type="http://schemas.openxmlformats.org/officeDocument/2006/relationships/tags" Target="../tags/tag588.xml"/><Relationship Id="rId45" Type="http://schemas.openxmlformats.org/officeDocument/2006/relationships/tags" Target="../tags/tag593.xml"/><Relationship Id="rId66" Type="http://schemas.openxmlformats.org/officeDocument/2006/relationships/tags" Target="../tags/tag614.xml"/><Relationship Id="rId87" Type="http://schemas.openxmlformats.org/officeDocument/2006/relationships/tags" Target="../tags/tag635.xml"/><Relationship Id="rId61" Type="http://schemas.openxmlformats.org/officeDocument/2006/relationships/tags" Target="../tags/tag609.xml"/><Relationship Id="rId82" Type="http://schemas.openxmlformats.org/officeDocument/2006/relationships/tags" Target="../tags/tag630.xml"/><Relationship Id="rId19" Type="http://schemas.openxmlformats.org/officeDocument/2006/relationships/tags" Target="../tags/tag567.xml"/><Relationship Id="rId14" Type="http://schemas.openxmlformats.org/officeDocument/2006/relationships/tags" Target="../tags/tag562.xml"/><Relationship Id="rId30" Type="http://schemas.openxmlformats.org/officeDocument/2006/relationships/tags" Target="../tags/tag578.xml"/><Relationship Id="rId35" Type="http://schemas.openxmlformats.org/officeDocument/2006/relationships/tags" Target="../tags/tag583.xml"/><Relationship Id="rId56" Type="http://schemas.openxmlformats.org/officeDocument/2006/relationships/tags" Target="../tags/tag604.xml"/><Relationship Id="rId77" Type="http://schemas.openxmlformats.org/officeDocument/2006/relationships/tags" Target="../tags/tag625.xml"/><Relationship Id="rId100" Type="http://schemas.openxmlformats.org/officeDocument/2006/relationships/tags" Target="../tags/tag648.xml"/><Relationship Id="rId105" Type="http://schemas.openxmlformats.org/officeDocument/2006/relationships/oleObject" Target="../embeddings/oleObject57.bin"/><Relationship Id="rId8" Type="http://schemas.openxmlformats.org/officeDocument/2006/relationships/tags" Target="../tags/tag556.xml"/><Relationship Id="rId51" Type="http://schemas.openxmlformats.org/officeDocument/2006/relationships/tags" Target="../tags/tag599.xml"/><Relationship Id="rId72" Type="http://schemas.openxmlformats.org/officeDocument/2006/relationships/tags" Target="../tags/tag620.xml"/><Relationship Id="rId93" Type="http://schemas.openxmlformats.org/officeDocument/2006/relationships/tags" Target="../tags/tag641.xml"/><Relationship Id="rId98" Type="http://schemas.openxmlformats.org/officeDocument/2006/relationships/tags" Target="../tags/tag646.xml"/><Relationship Id="rId3" Type="http://schemas.openxmlformats.org/officeDocument/2006/relationships/tags" Target="../tags/tag551.xml"/><Relationship Id="rId25" Type="http://schemas.openxmlformats.org/officeDocument/2006/relationships/tags" Target="../tags/tag573.xml"/><Relationship Id="rId46" Type="http://schemas.openxmlformats.org/officeDocument/2006/relationships/tags" Target="../tags/tag594.xml"/><Relationship Id="rId67" Type="http://schemas.openxmlformats.org/officeDocument/2006/relationships/tags" Target="../tags/tag615.xml"/></Relationships>
</file>

<file path=ppt/slideLayouts/_rels/slideLayout55.xml.rels><?xml version="1.0" encoding="UTF-8" standalone="yes"?>
<Relationships xmlns="http://schemas.openxmlformats.org/package/2006/relationships"><Relationship Id="rId26" Type="http://schemas.openxmlformats.org/officeDocument/2006/relationships/tags" Target="../tags/tag676.xml"/><Relationship Id="rId21" Type="http://schemas.openxmlformats.org/officeDocument/2006/relationships/tags" Target="../tags/tag671.xml"/><Relationship Id="rId42" Type="http://schemas.openxmlformats.org/officeDocument/2006/relationships/tags" Target="../tags/tag692.xml"/><Relationship Id="rId47" Type="http://schemas.openxmlformats.org/officeDocument/2006/relationships/tags" Target="../tags/tag697.xml"/><Relationship Id="rId63" Type="http://schemas.openxmlformats.org/officeDocument/2006/relationships/tags" Target="../tags/tag713.xml"/><Relationship Id="rId68" Type="http://schemas.openxmlformats.org/officeDocument/2006/relationships/tags" Target="../tags/tag718.xml"/><Relationship Id="rId84" Type="http://schemas.openxmlformats.org/officeDocument/2006/relationships/tags" Target="../tags/tag734.xml"/><Relationship Id="rId89" Type="http://schemas.openxmlformats.org/officeDocument/2006/relationships/oleObject" Target="../embeddings/oleObject58.bin"/><Relationship Id="rId16" Type="http://schemas.openxmlformats.org/officeDocument/2006/relationships/tags" Target="../tags/tag666.xml"/><Relationship Id="rId11" Type="http://schemas.openxmlformats.org/officeDocument/2006/relationships/tags" Target="../tags/tag661.xml"/><Relationship Id="rId32" Type="http://schemas.openxmlformats.org/officeDocument/2006/relationships/tags" Target="../tags/tag682.xml"/><Relationship Id="rId37" Type="http://schemas.openxmlformats.org/officeDocument/2006/relationships/tags" Target="../tags/tag687.xml"/><Relationship Id="rId53" Type="http://schemas.openxmlformats.org/officeDocument/2006/relationships/tags" Target="../tags/tag703.xml"/><Relationship Id="rId58" Type="http://schemas.openxmlformats.org/officeDocument/2006/relationships/tags" Target="../tags/tag708.xml"/><Relationship Id="rId74" Type="http://schemas.openxmlformats.org/officeDocument/2006/relationships/tags" Target="../tags/tag724.xml"/><Relationship Id="rId79" Type="http://schemas.openxmlformats.org/officeDocument/2006/relationships/tags" Target="../tags/tag729.xml"/><Relationship Id="rId5" Type="http://schemas.openxmlformats.org/officeDocument/2006/relationships/tags" Target="../tags/tag655.xml"/><Relationship Id="rId90" Type="http://schemas.openxmlformats.org/officeDocument/2006/relationships/image" Target="../media/image12.emf"/><Relationship Id="rId14" Type="http://schemas.openxmlformats.org/officeDocument/2006/relationships/tags" Target="../tags/tag664.xml"/><Relationship Id="rId22" Type="http://schemas.openxmlformats.org/officeDocument/2006/relationships/tags" Target="../tags/tag672.xml"/><Relationship Id="rId27" Type="http://schemas.openxmlformats.org/officeDocument/2006/relationships/tags" Target="../tags/tag677.xml"/><Relationship Id="rId30" Type="http://schemas.openxmlformats.org/officeDocument/2006/relationships/tags" Target="../tags/tag680.xml"/><Relationship Id="rId35" Type="http://schemas.openxmlformats.org/officeDocument/2006/relationships/tags" Target="../tags/tag685.xml"/><Relationship Id="rId43" Type="http://schemas.openxmlformats.org/officeDocument/2006/relationships/tags" Target="../tags/tag693.xml"/><Relationship Id="rId48" Type="http://schemas.openxmlformats.org/officeDocument/2006/relationships/tags" Target="../tags/tag698.xml"/><Relationship Id="rId56" Type="http://schemas.openxmlformats.org/officeDocument/2006/relationships/tags" Target="../tags/tag706.xml"/><Relationship Id="rId64" Type="http://schemas.openxmlformats.org/officeDocument/2006/relationships/tags" Target="../tags/tag714.xml"/><Relationship Id="rId69" Type="http://schemas.openxmlformats.org/officeDocument/2006/relationships/tags" Target="../tags/tag719.xml"/><Relationship Id="rId77" Type="http://schemas.openxmlformats.org/officeDocument/2006/relationships/tags" Target="../tags/tag727.xml"/><Relationship Id="rId8" Type="http://schemas.openxmlformats.org/officeDocument/2006/relationships/tags" Target="../tags/tag658.xml"/><Relationship Id="rId51" Type="http://schemas.openxmlformats.org/officeDocument/2006/relationships/tags" Target="../tags/tag701.xml"/><Relationship Id="rId72" Type="http://schemas.openxmlformats.org/officeDocument/2006/relationships/tags" Target="../tags/tag722.xml"/><Relationship Id="rId80" Type="http://schemas.openxmlformats.org/officeDocument/2006/relationships/tags" Target="../tags/tag730.xml"/><Relationship Id="rId85" Type="http://schemas.openxmlformats.org/officeDocument/2006/relationships/tags" Target="../tags/tag735.xml"/><Relationship Id="rId3" Type="http://schemas.openxmlformats.org/officeDocument/2006/relationships/tags" Target="../tags/tag653.xml"/><Relationship Id="rId12" Type="http://schemas.openxmlformats.org/officeDocument/2006/relationships/tags" Target="../tags/tag662.xml"/><Relationship Id="rId17" Type="http://schemas.openxmlformats.org/officeDocument/2006/relationships/tags" Target="../tags/tag667.xml"/><Relationship Id="rId25" Type="http://schemas.openxmlformats.org/officeDocument/2006/relationships/tags" Target="../tags/tag675.xml"/><Relationship Id="rId33" Type="http://schemas.openxmlformats.org/officeDocument/2006/relationships/tags" Target="../tags/tag683.xml"/><Relationship Id="rId38" Type="http://schemas.openxmlformats.org/officeDocument/2006/relationships/tags" Target="../tags/tag688.xml"/><Relationship Id="rId46" Type="http://schemas.openxmlformats.org/officeDocument/2006/relationships/tags" Target="../tags/tag696.xml"/><Relationship Id="rId59" Type="http://schemas.openxmlformats.org/officeDocument/2006/relationships/tags" Target="../tags/tag709.xml"/><Relationship Id="rId67" Type="http://schemas.openxmlformats.org/officeDocument/2006/relationships/tags" Target="../tags/tag717.xml"/><Relationship Id="rId20" Type="http://schemas.openxmlformats.org/officeDocument/2006/relationships/tags" Target="../tags/tag670.xml"/><Relationship Id="rId41" Type="http://schemas.openxmlformats.org/officeDocument/2006/relationships/tags" Target="../tags/tag691.xml"/><Relationship Id="rId54" Type="http://schemas.openxmlformats.org/officeDocument/2006/relationships/tags" Target="../tags/tag704.xml"/><Relationship Id="rId62" Type="http://schemas.openxmlformats.org/officeDocument/2006/relationships/tags" Target="../tags/tag712.xml"/><Relationship Id="rId70" Type="http://schemas.openxmlformats.org/officeDocument/2006/relationships/tags" Target="../tags/tag720.xml"/><Relationship Id="rId75" Type="http://schemas.openxmlformats.org/officeDocument/2006/relationships/tags" Target="../tags/tag725.xml"/><Relationship Id="rId83" Type="http://schemas.openxmlformats.org/officeDocument/2006/relationships/tags" Target="../tags/tag733.xml"/><Relationship Id="rId88" Type="http://schemas.openxmlformats.org/officeDocument/2006/relationships/slideMaster" Target="../slideMasters/slideMaster10.xml"/><Relationship Id="rId1" Type="http://schemas.openxmlformats.org/officeDocument/2006/relationships/vmlDrawing" Target="../drawings/vmlDrawing58.vml"/><Relationship Id="rId6" Type="http://schemas.openxmlformats.org/officeDocument/2006/relationships/tags" Target="../tags/tag656.xml"/><Relationship Id="rId15" Type="http://schemas.openxmlformats.org/officeDocument/2006/relationships/tags" Target="../tags/tag665.xml"/><Relationship Id="rId23" Type="http://schemas.openxmlformats.org/officeDocument/2006/relationships/tags" Target="../tags/tag673.xml"/><Relationship Id="rId28" Type="http://schemas.openxmlformats.org/officeDocument/2006/relationships/tags" Target="../tags/tag678.xml"/><Relationship Id="rId36" Type="http://schemas.openxmlformats.org/officeDocument/2006/relationships/tags" Target="../tags/tag686.xml"/><Relationship Id="rId49" Type="http://schemas.openxmlformats.org/officeDocument/2006/relationships/tags" Target="../tags/tag699.xml"/><Relationship Id="rId57" Type="http://schemas.openxmlformats.org/officeDocument/2006/relationships/tags" Target="../tags/tag707.xml"/><Relationship Id="rId10" Type="http://schemas.openxmlformats.org/officeDocument/2006/relationships/tags" Target="../tags/tag660.xml"/><Relationship Id="rId31" Type="http://schemas.openxmlformats.org/officeDocument/2006/relationships/tags" Target="../tags/tag681.xml"/><Relationship Id="rId44" Type="http://schemas.openxmlformats.org/officeDocument/2006/relationships/tags" Target="../tags/tag694.xml"/><Relationship Id="rId52" Type="http://schemas.openxmlformats.org/officeDocument/2006/relationships/tags" Target="../tags/tag702.xml"/><Relationship Id="rId60" Type="http://schemas.openxmlformats.org/officeDocument/2006/relationships/tags" Target="../tags/tag710.xml"/><Relationship Id="rId65" Type="http://schemas.openxmlformats.org/officeDocument/2006/relationships/tags" Target="../tags/tag715.xml"/><Relationship Id="rId73" Type="http://schemas.openxmlformats.org/officeDocument/2006/relationships/tags" Target="../tags/tag723.xml"/><Relationship Id="rId78" Type="http://schemas.openxmlformats.org/officeDocument/2006/relationships/tags" Target="../tags/tag728.xml"/><Relationship Id="rId81" Type="http://schemas.openxmlformats.org/officeDocument/2006/relationships/tags" Target="../tags/tag731.xml"/><Relationship Id="rId86" Type="http://schemas.openxmlformats.org/officeDocument/2006/relationships/tags" Target="../tags/tag736.xml"/><Relationship Id="rId4" Type="http://schemas.openxmlformats.org/officeDocument/2006/relationships/tags" Target="../tags/tag654.xml"/><Relationship Id="rId9" Type="http://schemas.openxmlformats.org/officeDocument/2006/relationships/tags" Target="../tags/tag659.xml"/><Relationship Id="rId13" Type="http://schemas.openxmlformats.org/officeDocument/2006/relationships/tags" Target="../tags/tag663.xml"/><Relationship Id="rId18" Type="http://schemas.openxmlformats.org/officeDocument/2006/relationships/tags" Target="../tags/tag668.xml"/><Relationship Id="rId39" Type="http://schemas.openxmlformats.org/officeDocument/2006/relationships/tags" Target="../tags/tag689.xml"/><Relationship Id="rId34" Type="http://schemas.openxmlformats.org/officeDocument/2006/relationships/tags" Target="../tags/tag684.xml"/><Relationship Id="rId50" Type="http://schemas.openxmlformats.org/officeDocument/2006/relationships/tags" Target="../tags/tag700.xml"/><Relationship Id="rId55" Type="http://schemas.openxmlformats.org/officeDocument/2006/relationships/tags" Target="../tags/tag705.xml"/><Relationship Id="rId76" Type="http://schemas.openxmlformats.org/officeDocument/2006/relationships/tags" Target="../tags/tag726.xml"/><Relationship Id="rId7" Type="http://schemas.openxmlformats.org/officeDocument/2006/relationships/tags" Target="../tags/tag657.xml"/><Relationship Id="rId71" Type="http://schemas.openxmlformats.org/officeDocument/2006/relationships/tags" Target="../tags/tag721.xml"/><Relationship Id="rId2" Type="http://schemas.openxmlformats.org/officeDocument/2006/relationships/tags" Target="../tags/tag652.xml"/><Relationship Id="rId29" Type="http://schemas.openxmlformats.org/officeDocument/2006/relationships/tags" Target="../tags/tag679.xml"/><Relationship Id="rId24" Type="http://schemas.openxmlformats.org/officeDocument/2006/relationships/tags" Target="../tags/tag674.xml"/><Relationship Id="rId40" Type="http://schemas.openxmlformats.org/officeDocument/2006/relationships/tags" Target="../tags/tag690.xml"/><Relationship Id="rId45" Type="http://schemas.openxmlformats.org/officeDocument/2006/relationships/tags" Target="../tags/tag695.xml"/><Relationship Id="rId66" Type="http://schemas.openxmlformats.org/officeDocument/2006/relationships/tags" Target="../tags/tag716.xml"/><Relationship Id="rId87" Type="http://schemas.openxmlformats.org/officeDocument/2006/relationships/tags" Target="../tags/tag737.xml"/><Relationship Id="rId61" Type="http://schemas.openxmlformats.org/officeDocument/2006/relationships/tags" Target="../tags/tag711.xml"/><Relationship Id="rId82" Type="http://schemas.openxmlformats.org/officeDocument/2006/relationships/tags" Target="../tags/tag732.xml"/><Relationship Id="rId19" Type="http://schemas.openxmlformats.org/officeDocument/2006/relationships/tags" Target="../tags/tag669.xml"/></Relationships>
</file>

<file path=ppt/slideLayouts/_rels/slideLayout56.xml.rels><?xml version="1.0" encoding="UTF-8" standalone="yes"?>
<Relationships xmlns="http://schemas.openxmlformats.org/package/2006/relationships"><Relationship Id="rId26" Type="http://schemas.openxmlformats.org/officeDocument/2006/relationships/tags" Target="../tags/tag762.xml"/><Relationship Id="rId21" Type="http://schemas.openxmlformats.org/officeDocument/2006/relationships/tags" Target="../tags/tag757.xml"/><Relationship Id="rId42" Type="http://schemas.openxmlformats.org/officeDocument/2006/relationships/tags" Target="../tags/tag778.xml"/><Relationship Id="rId47" Type="http://schemas.openxmlformats.org/officeDocument/2006/relationships/tags" Target="../tags/tag783.xml"/><Relationship Id="rId63" Type="http://schemas.openxmlformats.org/officeDocument/2006/relationships/tags" Target="../tags/tag799.xml"/><Relationship Id="rId68" Type="http://schemas.openxmlformats.org/officeDocument/2006/relationships/tags" Target="../tags/tag804.xml"/><Relationship Id="rId84" Type="http://schemas.openxmlformats.org/officeDocument/2006/relationships/tags" Target="../tags/tag820.xml"/><Relationship Id="rId89" Type="http://schemas.openxmlformats.org/officeDocument/2006/relationships/tags" Target="../tags/tag825.xml"/><Relationship Id="rId16" Type="http://schemas.openxmlformats.org/officeDocument/2006/relationships/tags" Target="../tags/tag752.xml"/><Relationship Id="rId11" Type="http://schemas.openxmlformats.org/officeDocument/2006/relationships/tags" Target="../tags/tag747.xml"/><Relationship Id="rId32" Type="http://schemas.openxmlformats.org/officeDocument/2006/relationships/tags" Target="../tags/tag768.xml"/><Relationship Id="rId37" Type="http://schemas.openxmlformats.org/officeDocument/2006/relationships/tags" Target="../tags/tag773.xml"/><Relationship Id="rId53" Type="http://schemas.openxmlformats.org/officeDocument/2006/relationships/tags" Target="../tags/tag789.xml"/><Relationship Id="rId58" Type="http://schemas.openxmlformats.org/officeDocument/2006/relationships/tags" Target="../tags/tag794.xml"/><Relationship Id="rId74" Type="http://schemas.openxmlformats.org/officeDocument/2006/relationships/tags" Target="../tags/tag810.xml"/><Relationship Id="rId79" Type="http://schemas.openxmlformats.org/officeDocument/2006/relationships/tags" Target="../tags/tag815.xml"/><Relationship Id="rId5" Type="http://schemas.openxmlformats.org/officeDocument/2006/relationships/tags" Target="../tags/tag741.xml"/><Relationship Id="rId90" Type="http://schemas.openxmlformats.org/officeDocument/2006/relationships/tags" Target="../tags/tag826.xml"/><Relationship Id="rId95" Type="http://schemas.openxmlformats.org/officeDocument/2006/relationships/tags" Target="../tags/tag831.xml"/><Relationship Id="rId22" Type="http://schemas.openxmlformats.org/officeDocument/2006/relationships/tags" Target="../tags/tag758.xml"/><Relationship Id="rId27" Type="http://schemas.openxmlformats.org/officeDocument/2006/relationships/tags" Target="../tags/tag763.xml"/><Relationship Id="rId43" Type="http://schemas.openxmlformats.org/officeDocument/2006/relationships/tags" Target="../tags/tag779.xml"/><Relationship Id="rId48" Type="http://schemas.openxmlformats.org/officeDocument/2006/relationships/tags" Target="../tags/tag784.xml"/><Relationship Id="rId64" Type="http://schemas.openxmlformats.org/officeDocument/2006/relationships/tags" Target="../tags/tag800.xml"/><Relationship Id="rId69" Type="http://schemas.openxmlformats.org/officeDocument/2006/relationships/tags" Target="../tags/tag805.xml"/><Relationship Id="rId80" Type="http://schemas.openxmlformats.org/officeDocument/2006/relationships/tags" Target="../tags/tag816.xml"/><Relationship Id="rId85" Type="http://schemas.openxmlformats.org/officeDocument/2006/relationships/tags" Target="../tags/tag821.xml"/><Relationship Id="rId12" Type="http://schemas.openxmlformats.org/officeDocument/2006/relationships/tags" Target="../tags/tag748.xml"/><Relationship Id="rId17" Type="http://schemas.openxmlformats.org/officeDocument/2006/relationships/tags" Target="../tags/tag753.xml"/><Relationship Id="rId25" Type="http://schemas.openxmlformats.org/officeDocument/2006/relationships/tags" Target="../tags/tag761.xml"/><Relationship Id="rId33" Type="http://schemas.openxmlformats.org/officeDocument/2006/relationships/tags" Target="../tags/tag769.xml"/><Relationship Id="rId38" Type="http://schemas.openxmlformats.org/officeDocument/2006/relationships/tags" Target="../tags/tag774.xml"/><Relationship Id="rId46" Type="http://schemas.openxmlformats.org/officeDocument/2006/relationships/tags" Target="../tags/tag782.xml"/><Relationship Id="rId59" Type="http://schemas.openxmlformats.org/officeDocument/2006/relationships/tags" Target="../tags/tag795.xml"/><Relationship Id="rId67" Type="http://schemas.openxmlformats.org/officeDocument/2006/relationships/tags" Target="../tags/tag803.xml"/><Relationship Id="rId20" Type="http://schemas.openxmlformats.org/officeDocument/2006/relationships/tags" Target="../tags/tag756.xml"/><Relationship Id="rId41" Type="http://schemas.openxmlformats.org/officeDocument/2006/relationships/tags" Target="../tags/tag777.xml"/><Relationship Id="rId54" Type="http://schemas.openxmlformats.org/officeDocument/2006/relationships/tags" Target="../tags/tag790.xml"/><Relationship Id="rId62" Type="http://schemas.openxmlformats.org/officeDocument/2006/relationships/tags" Target="../tags/tag798.xml"/><Relationship Id="rId70" Type="http://schemas.openxmlformats.org/officeDocument/2006/relationships/tags" Target="../tags/tag806.xml"/><Relationship Id="rId75" Type="http://schemas.openxmlformats.org/officeDocument/2006/relationships/tags" Target="../tags/tag811.xml"/><Relationship Id="rId83" Type="http://schemas.openxmlformats.org/officeDocument/2006/relationships/tags" Target="../tags/tag819.xml"/><Relationship Id="rId88" Type="http://schemas.openxmlformats.org/officeDocument/2006/relationships/tags" Target="../tags/tag824.xml"/><Relationship Id="rId91" Type="http://schemas.openxmlformats.org/officeDocument/2006/relationships/tags" Target="../tags/tag827.xml"/><Relationship Id="rId96" Type="http://schemas.openxmlformats.org/officeDocument/2006/relationships/tags" Target="../tags/tag832.xml"/><Relationship Id="rId1" Type="http://schemas.openxmlformats.org/officeDocument/2006/relationships/vmlDrawing" Target="../drawings/vmlDrawing59.vml"/><Relationship Id="rId6" Type="http://schemas.openxmlformats.org/officeDocument/2006/relationships/tags" Target="../tags/tag742.xml"/><Relationship Id="rId15" Type="http://schemas.openxmlformats.org/officeDocument/2006/relationships/tags" Target="../tags/tag751.xml"/><Relationship Id="rId23" Type="http://schemas.openxmlformats.org/officeDocument/2006/relationships/tags" Target="../tags/tag759.xml"/><Relationship Id="rId28" Type="http://schemas.openxmlformats.org/officeDocument/2006/relationships/tags" Target="../tags/tag764.xml"/><Relationship Id="rId36" Type="http://schemas.openxmlformats.org/officeDocument/2006/relationships/tags" Target="../tags/tag772.xml"/><Relationship Id="rId49" Type="http://schemas.openxmlformats.org/officeDocument/2006/relationships/tags" Target="../tags/tag785.xml"/><Relationship Id="rId57" Type="http://schemas.openxmlformats.org/officeDocument/2006/relationships/tags" Target="../tags/tag793.xml"/><Relationship Id="rId10" Type="http://schemas.openxmlformats.org/officeDocument/2006/relationships/tags" Target="../tags/tag746.xml"/><Relationship Id="rId31" Type="http://schemas.openxmlformats.org/officeDocument/2006/relationships/tags" Target="../tags/tag767.xml"/><Relationship Id="rId44" Type="http://schemas.openxmlformats.org/officeDocument/2006/relationships/tags" Target="../tags/tag780.xml"/><Relationship Id="rId52" Type="http://schemas.openxmlformats.org/officeDocument/2006/relationships/tags" Target="../tags/tag788.xml"/><Relationship Id="rId60" Type="http://schemas.openxmlformats.org/officeDocument/2006/relationships/tags" Target="../tags/tag796.xml"/><Relationship Id="rId65" Type="http://schemas.openxmlformats.org/officeDocument/2006/relationships/tags" Target="../tags/tag801.xml"/><Relationship Id="rId73" Type="http://schemas.openxmlformats.org/officeDocument/2006/relationships/tags" Target="../tags/tag809.xml"/><Relationship Id="rId78" Type="http://schemas.openxmlformats.org/officeDocument/2006/relationships/tags" Target="../tags/tag814.xml"/><Relationship Id="rId81" Type="http://schemas.openxmlformats.org/officeDocument/2006/relationships/tags" Target="../tags/tag817.xml"/><Relationship Id="rId86" Type="http://schemas.openxmlformats.org/officeDocument/2006/relationships/tags" Target="../tags/tag822.xml"/><Relationship Id="rId94" Type="http://schemas.openxmlformats.org/officeDocument/2006/relationships/tags" Target="../tags/tag830.xml"/><Relationship Id="rId99" Type="http://schemas.openxmlformats.org/officeDocument/2006/relationships/slideMaster" Target="../slideMasters/slideMaster10.xml"/><Relationship Id="rId101" Type="http://schemas.openxmlformats.org/officeDocument/2006/relationships/image" Target="../media/image12.emf"/><Relationship Id="rId4" Type="http://schemas.openxmlformats.org/officeDocument/2006/relationships/tags" Target="../tags/tag740.xml"/><Relationship Id="rId9" Type="http://schemas.openxmlformats.org/officeDocument/2006/relationships/tags" Target="../tags/tag745.xml"/><Relationship Id="rId13" Type="http://schemas.openxmlformats.org/officeDocument/2006/relationships/tags" Target="../tags/tag749.xml"/><Relationship Id="rId18" Type="http://schemas.openxmlformats.org/officeDocument/2006/relationships/tags" Target="../tags/tag754.xml"/><Relationship Id="rId39" Type="http://schemas.openxmlformats.org/officeDocument/2006/relationships/tags" Target="../tags/tag775.xml"/><Relationship Id="rId34" Type="http://schemas.openxmlformats.org/officeDocument/2006/relationships/tags" Target="../tags/tag770.xml"/><Relationship Id="rId50" Type="http://schemas.openxmlformats.org/officeDocument/2006/relationships/tags" Target="../tags/tag786.xml"/><Relationship Id="rId55" Type="http://schemas.openxmlformats.org/officeDocument/2006/relationships/tags" Target="../tags/tag791.xml"/><Relationship Id="rId76" Type="http://schemas.openxmlformats.org/officeDocument/2006/relationships/tags" Target="../tags/tag812.xml"/><Relationship Id="rId97" Type="http://schemas.openxmlformats.org/officeDocument/2006/relationships/tags" Target="../tags/tag833.xml"/><Relationship Id="rId7" Type="http://schemas.openxmlformats.org/officeDocument/2006/relationships/tags" Target="../tags/tag743.xml"/><Relationship Id="rId71" Type="http://schemas.openxmlformats.org/officeDocument/2006/relationships/tags" Target="../tags/tag807.xml"/><Relationship Id="rId92" Type="http://schemas.openxmlformats.org/officeDocument/2006/relationships/tags" Target="../tags/tag828.xml"/><Relationship Id="rId2" Type="http://schemas.openxmlformats.org/officeDocument/2006/relationships/tags" Target="../tags/tag738.xml"/><Relationship Id="rId29" Type="http://schemas.openxmlformats.org/officeDocument/2006/relationships/tags" Target="../tags/tag765.xml"/><Relationship Id="rId24" Type="http://schemas.openxmlformats.org/officeDocument/2006/relationships/tags" Target="../tags/tag760.xml"/><Relationship Id="rId40" Type="http://schemas.openxmlformats.org/officeDocument/2006/relationships/tags" Target="../tags/tag776.xml"/><Relationship Id="rId45" Type="http://schemas.openxmlformats.org/officeDocument/2006/relationships/tags" Target="../tags/tag781.xml"/><Relationship Id="rId66" Type="http://schemas.openxmlformats.org/officeDocument/2006/relationships/tags" Target="../tags/tag802.xml"/><Relationship Id="rId87" Type="http://schemas.openxmlformats.org/officeDocument/2006/relationships/tags" Target="../tags/tag823.xml"/><Relationship Id="rId61" Type="http://schemas.openxmlformats.org/officeDocument/2006/relationships/tags" Target="../tags/tag797.xml"/><Relationship Id="rId82" Type="http://schemas.openxmlformats.org/officeDocument/2006/relationships/tags" Target="../tags/tag818.xml"/><Relationship Id="rId19" Type="http://schemas.openxmlformats.org/officeDocument/2006/relationships/tags" Target="../tags/tag755.xml"/><Relationship Id="rId14" Type="http://schemas.openxmlformats.org/officeDocument/2006/relationships/tags" Target="../tags/tag750.xml"/><Relationship Id="rId30" Type="http://schemas.openxmlformats.org/officeDocument/2006/relationships/tags" Target="../tags/tag766.xml"/><Relationship Id="rId35" Type="http://schemas.openxmlformats.org/officeDocument/2006/relationships/tags" Target="../tags/tag771.xml"/><Relationship Id="rId56" Type="http://schemas.openxmlformats.org/officeDocument/2006/relationships/tags" Target="../tags/tag792.xml"/><Relationship Id="rId77" Type="http://schemas.openxmlformats.org/officeDocument/2006/relationships/tags" Target="../tags/tag813.xml"/><Relationship Id="rId100" Type="http://schemas.openxmlformats.org/officeDocument/2006/relationships/oleObject" Target="../embeddings/oleObject59.bin"/><Relationship Id="rId8" Type="http://schemas.openxmlformats.org/officeDocument/2006/relationships/tags" Target="../tags/tag744.xml"/><Relationship Id="rId51" Type="http://schemas.openxmlformats.org/officeDocument/2006/relationships/tags" Target="../tags/tag787.xml"/><Relationship Id="rId72" Type="http://schemas.openxmlformats.org/officeDocument/2006/relationships/tags" Target="../tags/tag808.xml"/><Relationship Id="rId93" Type="http://schemas.openxmlformats.org/officeDocument/2006/relationships/tags" Target="../tags/tag829.xml"/><Relationship Id="rId98" Type="http://schemas.openxmlformats.org/officeDocument/2006/relationships/tags" Target="../tags/tag834.xml"/><Relationship Id="rId3" Type="http://schemas.openxmlformats.org/officeDocument/2006/relationships/tags" Target="../tags/tag739.xml"/></Relationships>
</file>

<file path=ppt/slideLayouts/_rels/slideLayout57.xml.rels><?xml version="1.0" encoding="UTF-8" standalone="yes"?>
<Relationships xmlns="http://schemas.openxmlformats.org/package/2006/relationships"><Relationship Id="rId26" Type="http://schemas.openxmlformats.org/officeDocument/2006/relationships/tags" Target="../tags/tag859.xml"/><Relationship Id="rId21" Type="http://schemas.openxmlformats.org/officeDocument/2006/relationships/tags" Target="../tags/tag854.xml"/><Relationship Id="rId42" Type="http://schemas.openxmlformats.org/officeDocument/2006/relationships/tags" Target="../tags/tag875.xml"/><Relationship Id="rId47" Type="http://schemas.openxmlformats.org/officeDocument/2006/relationships/tags" Target="../tags/tag880.xml"/><Relationship Id="rId63" Type="http://schemas.openxmlformats.org/officeDocument/2006/relationships/tags" Target="../tags/tag896.xml"/><Relationship Id="rId68" Type="http://schemas.openxmlformats.org/officeDocument/2006/relationships/tags" Target="../tags/tag901.xml"/><Relationship Id="rId84" Type="http://schemas.openxmlformats.org/officeDocument/2006/relationships/tags" Target="../tags/tag917.xml"/><Relationship Id="rId89" Type="http://schemas.openxmlformats.org/officeDocument/2006/relationships/tags" Target="../tags/tag922.xml"/><Relationship Id="rId16" Type="http://schemas.openxmlformats.org/officeDocument/2006/relationships/tags" Target="../tags/tag849.xml"/><Relationship Id="rId11" Type="http://schemas.openxmlformats.org/officeDocument/2006/relationships/tags" Target="../tags/tag844.xml"/><Relationship Id="rId32" Type="http://schemas.openxmlformats.org/officeDocument/2006/relationships/tags" Target="../tags/tag865.xml"/><Relationship Id="rId37" Type="http://schemas.openxmlformats.org/officeDocument/2006/relationships/tags" Target="../tags/tag870.xml"/><Relationship Id="rId53" Type="http://schemas.openxmlformats.org/officeDocument/2006/relationships/tags" Target="../tags/tag886.xml"/><Relationship Id="rId58" Type="http://schemas.openxmlformats.org/officeDocument/2006/relationships/tags" Target="../tags/tag891.xml"/><Relationship Id="rId74" Type="http://schemas.openxmlformats.org/officeDocument/2006/relationships/tags" Target="../tags/tag907.xml"/><Relationship Id="rId79" Type="http://schemas.openxmlformats.org/officeDocument/2006/relationships/tags" Target="../tags/tag912.xml"/><Relationship Id="rId5" Type="http://schemas.openxmlformats.org/officeDocument/2006/relationships/tags" Target="../tags/tag838.xml"/><Relationship Id="rId90" Type="http://schemas.openxmlformats.org/officeDocument/2006/relationships/tags" Target="../tags/tag923.xml"/><Relationship Id="rId95" Type="http://schemas.openxmlformats.org/officeDocument/2006/relationships/tags" Target="../tags/tag928.xml"/><Relationship Id="rId22" Type="http://schemas.openxmlformats.org/officeDocument/2006/relationships/tags" Target="../tags/tag855.xml"/><Relationship Id="rId27" Type="http://schemas.openxmlformats.org/officeDocument/2006/relationships/tags" Target="../tags/tag860.xml"/><Relationship Id="rId43" Type="http://schemas.openxmlformats.org/officeDocument/2006/relationships/tags" Target="../tags/tag876.xml"/><Relationship Id="rId48" Type="http://schemas.openxmlformats.org/officeDocument/2006/relationships/tags" Target="../tags/tag881.xml"/><Relationship Id="rId64" Type="http://schemas.openxmlformats.org/officeDocument/2006/relationships/tags" Target="../tags/tag897.xml"/><Relationship Id="rId69" Type="http://schemas.openxmlformats.org/officeDocument/2006/relationships/tags" Target="../tags/tag902.xml"/><Relationship Id="rId80" Type="http://schemas.openxmlformats.org/officeDocument/2006/relationships/tags" Target="../tags/tag913.xml"/><Relationship Id="rId85" Type="http://schemas.openxmlformats.org/officeDocument/2006/relationships/tags" Target="../tags/tag918.xml"/><Relationship Id="rId3" Type="http://schemas.openxmlformats.org/officeDocument/2006/relationships/tags" Target="../tags/tag836.xml"/><Relationship Id="rId12" Type="http://schemas.openxmlformats.org/officeDocument/2006/relationships/tags" Target="../tags/tag845.xml"/><Relationship Id="rId17" Type="http://schemas.openxmlformats.org/officeDocument/2006/relationships/tags" Target="../tags/tag850.xml"/><Relationship Id="rId25" Type="http://schemas.openxmlformats.org/officeDocument/2006/relationships/tags" Target="../tags/tag858.xml"/><Relationship Id="rId33" Type="http://schemas.openxmlformats.org/officeDocument/2006/relationships/tags" Target="../tags/tag866.xml"/><Relationship Id="rId38" Type="http://schemas.openxmlformats.org/officeDocument/2006/relationships/tags" Target="../tags/tag871.xml"/><Relationship Id="rId46" Type="http://schemas.openxmlformats.org/officeDocument/2006/relationships/tags" Target="../tags/tag879.xml"/><Relationship Id="rId59" Type="http://schemas.openxmlformats.org/officeDocument/2006/relationships/tags" Target="../tags/tag892.xml"/><Relationship Id="rId67" Type="http://schemas.openxmlformats.org/officeDocument/2006/relationships/tags" Target="../tags/tag900.xml"/><Relationship Id="rId20" Type="http://schemas.openxmlformats.org/officeDocument/2006/relationships/tags" Target="../tags/tag853.xml"/><Relationship Id="rId41" Type="http://schemas.openxmlformats.org/officeDocument/2006/relationships/tags" Target="../tags/tag874.xml"/><Relationship Id="rId54" Type="http://schemas.openxmlformats.org/officeDocument/2006/relationships/tags" Target="../tags/tag887.xml"/><Relationship Id="rId62" Type="http://schemas.openxmlformats.org/officeDocument/2006/relationships/tags" Target="../tags/tag895.xml"/><Relationship Id="rId70" Type="http://schemas.openxmlformats.org/officeDocument/2006/relationships/tags" Target="../tags/tag903.xml"/><Relationship Id="rId75" Type="http://schemas.openxmlformats.org/officeDocument/2006/relationships/tags" Target="../tags/tag908.xml"/><Relationship Id="rId83" Type="http://schemas.openxmlformats.org/officeDocument/2006/relationships/tags" Target="../tags/tag916.xml"/><Relationship Id="rId88" Type="http://schemas.openxmlformats.org/officeDocument/2006/relationships/tags" Target="../tags/tag921.xml"/><Relationship Id="rId91" Type="http://schemas.openxmlformats.org/officeDocument/2006/relationships/tags" Target="../tags/tag924.xml"/><Relationship Id="rId96" Type="http://schemas.openxmlformats.org/officeDocument/2006/relationships/tags" Target="../tags/tag929.xml"/><Relationship Id="rId1" Type="http://schemas.openxmlformats.org/officeDocument/2006/relationships/vmlDrawing" Target="../drawings/vmlDrawing60.vml"/><Relationship Id="rId6" Type="http://schemas.openxmlformats.org/officeDocument/2006/relationships/tags" Target="../tags/tag839.xml"/><Relationship Id="rId15" Type="http://schemas.openxmlformats.org/officeDocument/2006/relationships/tags" Target="../tags/tag848.xml"/><Relationship Id="rId23" Type="http://schemas.openxmlformats.org/officeDocument/2006/relationships/tags" Target="../tags/tag856.xml"/><Relationship Id="rId28" Type="http://schemas.openxmlformats.org/officeDocument/2006/relationships/tags" Target="../tags/tag861.xml"/><Relationship Id="rId36" Type="http://schemas.openxmlformats.org/officeDocument/2006/relationships/tags" Target="../tags/tag869.xml"/><Relationship Id="rId49" Type="http://schemas.openxmlformats.org/officeDocument/2006/relationships/tags" Target="../tags/tag882.xml"/><Relationship Id="rId57" Type="http://schemas.openxmlformats.org/officeDocument/2006/relationships/tags" Target="../tags/tag890.xml"/><Relationship Id="rId10" Type="http://schemas.openxmlformats.org/officeDocument/2006/relationships/tags" Target="../tags/tag843.xml"/><Relationship Id="rId31" Type="http://schemas.openxmlformats.org/officeDocument/2006/relationships/tags" Target="../tags/tag864.xml"/><Relationship Id="rId44" Type="http://schemas.openxmlformats.org/officeDocument/2006/relationships/tags" Target="../tags/tag877.xml"/><Relationship Id="rId52" Type="http://schemas.openxmlformats.org/officeDocument/2006/relationships/tags" Target="../tags/tag885.xml"/><Relationship Id="rId60" Type="http://schemas.openxmlformats.org/officeDocument/2006/relationships/tags" Target="../tags/tag893.xml"/><Relationship Id="rId65" Type="http://schemas.openxmlformats.org/officeDocument/2006/relationships/tags" Target="../tags/tag898.xml"/><Relationship Id="rId73" Type="http://schemas.openxmlformats.org/officeDocument/2006/relationships/tags" Target="../tags/tag906.xml"/><Relationship Id="rId78" Type="http://schemas.openxmlformats.org/officeDocument/2006/relationships/tags" Target="../tags/tag911.xml"/><Relationship Id="rId81" Type="http://schemas.openxmlformats.org/officeDocument/2006/relationships/tags" Target="../tags/tag914.xml"/><Relationship Id="rId86" Type="http://schemas.openxmlformats.org/officeDocument/2006/relationships/tags" Target="../tags/tag919.xml"/><Relationship Id="rId94" Type="http://schemas.openxmlformats.org/officeDocument/2006/relationships/tags" Target="../tags/tag927.xml"/><Relationship Id="rId99" Type="http://schemas.openxmlformats.org/officeDocument/2006/relationships/oleObject" Target="../embeddings/oleObject60.bin"/><Relationship Id="rId4" Type="http://schemas.openxmlformats.org/officeDocument/2006/relationships/tags" Target="../tags/tag837.xml"/><Relationship Id="rId9" Type="http://schemas.openxmlformats.org/officeDocument/2006/relationships/tags" Target="../tags/tag842.xml"/><Relationship Id="rId13" Type="http://schemas.openxmlformats.org/officeDocument/2006/relationships/tags" Target="../tags/tag846.xml"/><Relationship Id="rId18" Type="http://schemas.openxmlformats.org/officeDocument/2006/relationships/tags" Target="../tags/tag851.xml"/><Relationship Id="rId39" Type="http://schemas.openxmlformats.org/officeDocument/2006/relationships/tags" Target="../tags/tag872.xml"/><Relationship Id="rId34" Type="http://schemas.openxmlformats.org/officeDocument/2006/relationships/tags" Target="../tags/tag867.xml"/><Relationship Id="rId50" Type="http://schemas.openxmlformats.org/officeDocument/2006/relationships/tags" Target="../tags/tag883.xml"/><Relationship Id="rId55" Type="http://schemas.openxmlformats.org/officeDocument/2006/relationships/tags" Target="../tags/tag888.xml"/><Relationship Id="rId76" Type="http://schemas.openxmlformats.org/officeDocument/2006/relationships/tags" Target="../tags/tag909.xml"/><Relationship Id="rId97" Type="http://schemas.openxmlformats.org/officeDocument/2006/relationships/tags" Target="../tags/tag930.xml"/><Relationship Id="rId7" Type="http://schemas.openxmlformats.org/officeDocument/2006/relationships/tags" Target="../tags/tag840.xml"/><Relationship Id="rId71" Type="http://schemas.openxmlformats.org/officeDocument/2006/relationships/tags" Target="../tags/tag904.xml"/><Relationship Id="rId92" Type="http://schemas.openxmlformats.org/officeDocument/2006/relationships/tags" Target="../tags/tag925.xml"/><Relationship Id="rId2" Type="http://schemas.openxmlformats.org/officeDocument/2006/relationships/tags" Target="../tags/tag835.xml"/><Relationship Id="rId29" Type="http://schemas.openxmlformats.org/officeDocument/2006/relationships/tags" Target="../tags/tag862.xml"/><Relationship Id="rId24" Type="http://schemas.openxmlformats.org/officeDocument/2006/relationships/tags" Target="../tags/tag857.xml"/><Relationship Id="rId40" Type="http://schemas.openxmlformats.org/officeDocument/2006/relationships/tags" Target="../tags/tag873.xml"/><Relationship Id="rId45" Type="http://schemas.openxmlformats.org/officeDocument/2006/relationships/tags" Target="../tags/tag878.xml"/><Relationship Id="rId66" Type="http://schemas.openxmlformats.org/officeDocument/2006/relationships/tags" Target="../tags/tag899.xml"/><Relationship Id="rId87" Type="http://schemas.openxmlformats.org/officeDocument/2006/relationships/tags" Target="../tags/tag920.xml"/><Relationship Id="rId61" Type="http://schemas.openxmlformats.org/officeDocument/2006/relationships/tags" Target="../tags/tag894.xml"/><Relationship Id="rId82" Type="http://schemas.openxmlformats.org/officeDocument/2006/relationships/tags" Target="../tags/tag915.xml"/><Relationship Id="rId19" Type="http://schemas.openxmlformats.org/officeDocument/2006/relationships/tags" Target="../tags/tag852.xml"/><Relationship Id="rId14" Type="http://schemas.openxmlformats.org/officeDocument/2006/relationships/tags" Target="../tags/tag847.xml"/><Relationship Id="rId30" Type="http://schemas.openxmlformats.org/officeDocument/2006/relationships/tags" Target="../tags/tag863.xml"/><Relationship Id="rId35" Type="http://schemas.openxmlformats.org/officeDocument/2006/relationships/tags" Target="../tags/tag868.xml"/><Relationship Id="rId56" Type="http://schemas.openxmlformats.org/officeDocument/2006/relationships/tags" Target="../tags/tag889.xml"/><Relationship Id="rId77" Type="http://schemas.openxmlformats.org/officeDocument/2006/relationships/tags" Target="../tags/tag910.xml"/><Relationship Id="rId100" Type="http://schemas.openxmlformats.org/officeDocument/2006/relationships/image" Target="../media/image12.emf"/><Relationship Id="rId8" Type="http://schemas.openxmlformats.org/officeDocument/2006/relationships/tags" Target="../tags/tag841.xml"/><Relationship Id="rId51" Type="http://schemas.openxmlformats.org/officeDocument/2006/relationships/tags" Target="../tags/tag884.xml"/><Relationship Id="rId72" Type="http://schemas.openxmlformats.org/officeDocument/2006/relationships/tags" Target="../tags/tag905.xml"/><Relationship Id="rId93" Type="http://schemas.openxmlformats.org/officeDocument/2006/relationships/tags" Target="../tags/tag926.xml"/><Relationship Id="rId98" Type="http://schemas.openxmlformats.org/officeDocument/2006/relationships/slideMaster" Target="../slideMasters/slideMaster10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1.png"/><Relationship Id="rId2" Type="http://schemas.openxmlformats.org/officeDocument/2006/relationships/tags" Target="../tags/tag4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949.xml"/><Relationship Id="rId7" Type="http://schemas.openxmlformats.org/officeDocument/2006/relationships/image" Target="../media/image11.png"/><Relationship Id="rId2" Type="http://schemas.openxmlformats.org/officeDocument/2006/relationships/tags" Target="../tags/tag948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1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951.xml"/><Relationship Id="rId7" Type="http://schemas.openxmlformats.org/officeDocument/2006/relationships/image" Target="../media/image11.png"/><Relationship Id="rId2" Type="http://schemas.openxmlformats.org/officeDocument/2006/relationships/tags" Target="../tags/tag950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1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953.xml"/><Relationship Id="rId7" Type="http://schemas.openxmlformats.org/officeDocument/2006/relationships/image" Target="../media/image11.png"/><Relationship Id="rId2" Type="http://schemas.openxmlformats.org/officeDocument/2006/relationships/tags" Target="../tags/tag952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11.xml"/></Relationships>
</file>

<file path=ppt/slideLayouts/_rels/slideLayout63.xml.rels><?xml version="1.0" encoding="UTF-8" standalone="yes"?>
<Relationships xmlns="http://schemas.openxmlformats.org/package/2006/relationships"><Relationship Id="rId26" Type="http://schemas.openxmlformats.org/officeDocument/2006/relationships/tags" Target="../tags/tag978.xml"/><Relationship Id="rId21" Type="http://schemas.openxmlformats.org/officeDocument/2006/relationships/tags" Target="../tags/tag973.xml"/><Relationship Id="rId42" Type="http://schemas.openxmlformats.org/officeDocument/2006/relationships/tags" Target="../tags/tag994.xml"/><Relationship Id="rId47" Type="http://schemas.openxmlformats.org/officeDocument/2006/relationships/tags" Target="../tags/tag999.xml"/><Relationship Id="rId63" Type="http://schemas.openxmlformats.org/officeDocument/2006/relationships/tags" Target="../tags/tag1015.xml"/><Relationship Id="rId68" Type="http://schemas.openxmlformats.org/officeDocument/2006/relationships/tags" Target="../tags/tag1020.xml"/><Relationship Id="rId84" Type="http://schemas.openxmlformats.org/officeDocument/2006/relationships/tags" Target="../tags/tag1036.xml"/><Relationship Id="rId89" Type="http://schemas.openxmlformats.org/officeDocument/2006/relationships/tags" Target="../tags/tag1041.xml"/><Relationship Id="rId16" Type="http://schemas.openxmlformats.org/officeDocument/2006/relationships/tags" Target="../tags/tag968.xml"/><Relationship Id="rId11" Type="http://schemas.openxmlformats.org/officeDocument/2006/relationships/tags" Target="../tags/tag963.xml"/><Relationship Id="rId32" Type="http://schemas.openxmlformats.org/officeDocument/2006/relationships/tags" Target="../tags/tag984.xml"/><Relationship Id="rId37" Type="http://schemas.openxmlformats.org/officeDocument/2006/relationships/tags" Target="../tags/tag989.xml"/><Relationship Id="rId53" Type="http://schemas.openxmlformats.org/officeDocument/2006/relationships/tags" Target="../tags/tag1005.xml"/><Relationship Id="rId58" Type="http://schemas.openxmlformats.org/officeDocument/2006/relationships/tags" Target="../tags/tag1010.xml"/><Relationship Id="rId74" Type="http://schemas.openxmlformats.org/officeDocument/2006/relationships/tags" Target="../tags/tag1026.xml"/><Relationship Id="rId79" Type="http://schemas.openxmlformats.org/officeDocument/2006/relationships/tags" Target="../tags/tag1031.xml"/><Relationship Id="rId5" Type="http://schemas.openxmlformats.org/officeDocument/2006/relationships/tags" Target="../tags/tag957.xml"/><Relationship Id="rId90" Type="http://schemas.openxmlformats.org/officeDocument/2006/relationships/tags" Target="../tags/tag1042.xml"/><Relationship Id="rId95" Type="http://schemas.openxmlformats.org/officeDocument/2006/relationships/tags" Target="../tags/tag1047.xml"/><Relationship Id="rId22" Type="http://schemas.openxmlformats.org/officeDocument/2006/relationships/tags" Target="../tags/tag974.xml"/><Relationship Id="rId27" Type="http://schemas.openxmlformats.org/officeDocument/2006/relationships/tags" Target="../tags/tag979.xml"/><Relationship Id="rId43" Type="http://schemas.openxmlformats.org/officeDocument/2006/relationships/tags" Target="../tags/tag995.xml"/><Relationship Id="rId48" Type="http://schemas.openxmlformats.org/officeDocument/2006/relationships/tags" Target="../tags/tag1000.xml"/><Relationship Id="rId64" Type="http://schemas.openxmlformats.org/officeDocument/2006/relationships/tags" Target="../tags/tag1016.xml"/><Relationship Id="rId69" Type="http://schemas.openxmlformats.org/officeDocument/2006/relationships/tags" Target="../tags/tag1021.xml"/><Relationship Id="rId80" Type="http://schemas.openxmlformats.org/officeDocument/2006/relationships/tags" Target="../tags/tag1032.xml"/><Relationship Id="rId85" Type="http://schemas.openxmlformats.org/officeDocument/2006/relationships/tags" Target="../tags/tag1037.xml"/><Relationship Id="rId3" Type="http://schemas.openxmlformats.org/officeDocument/2006/relationships/tags" Target="../tags/tag955.xml"/><Relationship Id="rId12" Type="http://schemas.openxmlformats.org/officeDocument/2006/relationships/tags" Target="../tags/tag964.xml"/><Relationship Id="rId17" Type="http://schemas.openxmlformats.org/officeDocument/2006/relationships/tags" Target="../tags/tag969.xml"/><Relationship Id="rId25" Type="http://schemas.openxmlformats.org/officeDocument/2006/relationships/tags" Target="../tags/tag977.xml"/><Relationship Id="rId33" Type="http://schemas.openxmlformats.org/officeDocument/2006/relationships/tags" Target="../tags/tag985.xml"/><Relationship Id="rId38" Type="http://schemas.openxmlformats.org/officeDocument/2006/relationships/tags" Target="../tags/tag990.xml"/><Relationship Id="rId46" Type="http://schemas.openxmlformats.org/officeDocument/2006/relationships/tags" Target="../tags/tag998.xml"/><Relationship Id="rId59" Type="http://schemas.openxmlformats.org/officeDocument/2006/relationships/tags" Target="../tags/tag1011.xml"/><Relationship Id="rId67" Type="http://schemas.openxmlformats.org/officeDocument/2006/relationships/tags" Target="../tags/tag1019.xml"/><Relationship Id="rId20" Type="http://schemas.openxmlformats.org/officeDocument/2006/relationships/tags" Target="../tags/tag972.xml"/><Relationship Id="rId41" Type="http://schemas.openxmlformats.org/officeDocument/2006/relationships/tags" Target="../tags/tag993.xml"/><Relationship Id="rId54" Type="http://schemas.openxmlformats.org/officeDocument/2006/relationships/tags" Target="../tags/tag1006.xml"/><Relationship Id="rId62" Type="http://schemas.openxmlformats.org/officeDocument/2006/relationships/tags" Target="../tags/tag1014.xml"/><Relationship Id="rId70" Type="http://schemas.openxmlformats.org/officeDocument/2006/relationships/tags" Target="../tags/tag1022.xml"/><Relationship Id="rId75" Type="http://schemas.openxmlformats.org/officeDocument/2006/relationships/tags" Target="../tags/tag1027.xml"/><Relationship Id="rId83" Type="http://schemas.openxmlformats.org/officeDocument/2006/relationships/tags" Target="../tags/tag1035.xml"/><Relationship Id="rId88" Type="http://schemas.openxmlformats.org/officeDocument/2006/relationships/tags" Target="../tags/tag1040.xml"/><Relationship Id="rId91" Type="http://schemas.openxmlformats.org/officeDocument/2006/relationships/tags" Target="../tags/tag1043.xml"/><Relationship Id="rId96" Type="http://schemas.openxmlformats.org/officeDocument/2006/relationships/slideMaster" Target="../slideMasters/slideMaster11.xml"/><Relationship Id="rId1" Type="http://schemas.openxmlformats.org/officeDocument/2006/relationships/vmlDrawing" Target="../drawings/vmlDrawing65.vml"/><Relationship Id="rId6" Type="http://schemas.openxmlformats.org/officeDocument/2006/relationships/tags" Target="../tags/tag958.xml"/><Relationship Id="rId15" Type="http://schemas.openxmlformats.org/officeDocument/2006/relationships/tags" Target="../tags/tag967.xml"/><Relationship Id="rId23" Type="http://schemas.openxmlformats.org/officeDocument/2006/relationships/tags" Target="../tags/tag975.xml"/><Relationship Id="rId28" Type="http://schemas.openxmlformats.org/officeDocument/2006/relationships/tags" Target="../tags/tag980.xml"/><Relationship Id="rId36" Type="http://schemas.openxmlformats.org/officeDocument/2006/relationships/tags" Target="../tags/tag988.xml"/><Relationship Id="rId49" Type="http://schemas.openxmlformats.org/officeDocument/2006/relationships/tags" Target="../tags/tag1001.xml"/><Relationship Id="rId57" Type="http://schemas.openxmlformats.org/officeDocument/2006/relationships/tags" Target="../tags/tag1009.xml"/><Relationship Id="rId10" Type="http://schemas.openxmlformats.org/officeDocument/2006/relationships/tags" Target="../tags/tag962.xml"/><Relationship Id="rId31" Type="http://schemas.openxmlformats.org/officeDocument/2006/relationships/tags" Target="../tags/tag983.xml"/><Relationship Id="rId44" Type="http://schemas.openxmlformats.org/officeDocument/2006/relationships/tags" Target="../tags/tag996.xml"/><Relationship Id="rId52" Type="http://schemas.openxmlformats.org/officeDocument/2006/relationships/tags" Target="../tags/tag1004.xml"/><Relationship Id="rId60" Type="http://schemas.openxmlformats.org/officeDocument/2006/relationships/tags" Target="../tags/tag1012.xml"/><Relationship Id="rId65" Type="http://schemas.openxmlformats.org/officeDocument/2006/relationships/tags" Target="../tags/tag1017.xml"/><Relationship Id="rId73" Type="http://schemas.openxmlformats.org/officeDocument/2006/relationships/tags" Target="../tags/tag1025.xml"/><Relationship Id="rId78" Type="http://schemas.openxmlformats.org/officeDocument/2006/relationships/tags" Target="../tags/tag1030.xml"/><Relationship Id="rId81" Type="http://schemas.openxmlformats.org/officeDocument/2006/relationships/tags" Target="../tags/tag1033.xml"/><Relationship Id="rId86" Type="http://schemas.openxmlformats.org/officeDocument/2006/relationships/tags" Target="../tags/tag1038.xml"/><Relationship Id="rId94" Type="http://schemas.openxmlformats.org/officeDocument/2006/relationships/tags" Target="../tags/tag1046.xml"/><Relationship Id="rId4" Type="http://schemas.openxmlformats.org/officeDocument/2006/relationships/tags" Target="../tags/tag956.xml"/><Relationship Id="rId9" Type="http://schemas.openxmlformats.org/officeDocument/2006/relationships/tags" Target="../tags/tag961.xml"/><Relationship Id="rId13" Type="http://schemas.openxmlformats.org/officeDocument/2006/relationships/tags" Target="../tags/tag965.xml"/><Relationship Id="rId18" Type="http://schemas.openxmlformats.org/officeDocument/2006/relationships/tags" Target="../tags/tag970.xml"/><Relationship Id="rId39" Type="http://schemas.openxmlformats.org/officeDocument/2006/relationships/tags" Target="../tags/tag991.xml"/><Relationship Id="rId34" Type="http://schemas.openxmlformats.org/officeDocument/2006/relationships/tags" Target="../tags/tag986.xml"/><Relationship Id="rId50" Type="http://schemas.openxmlformats.org/officeDocument/2006/relationships/tags" Target="../tags/tag1002.xml"/><Relationship Id="rId55" Type="http://schemas.openxmlformats.org/officeDocument/2006/relationships/tags" Target="../tags/tag1007.xml"/><Relationship Id="rId76" Type="http://schemas.openxmlformats.org/officeDocument/2006/relationships/tags" Target="../tags/tag1028.xml"/><Relationship Id="rId97" Type="http://schemas.openxmlformats.org/officeDocument/2006/relationships/oleObject" Target="../embeddings/oleObject65.bin"/><Relationship Id="rId7" Type="http://schemas.openxmlformats.org/officeDocument/2006/relationships/tags" Target="../tags/tag959.xml"/><Relationship Id="rId71" Type="http://schemas.openxmlformats.org/officeDocument/2006/relationships/tags" Target="../tags/tag1023.xml"/><Relationship Id="rId92" Type="http://schemas.openxmlformats.org/officeDocument/2006/relationships/tags" Target="../tags/tag1044.xml"/><Relationship Id="rId2" Type="http://schemas.openxmlformats.org/officeDocument/2006/relationships/tags" Target="../tags/tag954.xml"/><Relationship Id="rId29" Type="http://schemas.openxmlformats.org/officeDocument/2006/relationships/tags" Target="../tags/tag981.xml"/><Relationship Id="rId24" Type="http://schemas.openxmlformats.org/officeDocument/2006/relationships/tags" Target="../tags/tag976.xml"/><Relationship Id="rId40" Type="http://schemas.openxmlformats.org/officeDocument/2006/relationships/tags" Target="../tags/tag992.xml"/><Relationship Id="rId45" Type="http://schemas.openxmlformats.org/officeDocument/2006/relationships/tags" Target="../tags/tag997.xml"/><Relationship Id="rId66" Type="http://schemas.openxmlformats.org/officeDocument/2006/relationships/tags" Target="../tags/tag1018.xml"/><Relationship Id="rId87" Type="http://schemas.openxmlformats.org/officeDocument/2006/relationships/tags" Target="../tags/tag1039.xml"/><Relationship Id="rId61" Type="http://schemas.openxmlformats.org/officeDocument/2006/relationships/tags" Target="../tags/tag1013.xml"/><Relationship Id="rId82" Type="http://schemas.openxmlformats.org/officeDocument/2006/relationships/tags" Target="../tags/tag1034.xml"/><Relationship Id="rId19" Type="http://schemas.openxmlformats.org/officeDocument/2006/relationships/tags" Target="../tags/tag971.xml"/><Relationship Id="rId14" Type="http://schemas.openxmlformats.org/officeDocument/2006/relationships/tags" Target="../tags/tag966.xml"/><Relationship Id="rId30" Type="http://schemas.openxmlformats.org/officeDocument/2006/relationships/tags" Target="../tags/tag982.xml"/><Relationship Id="rId35" Type="http://schemas.openxmlformats.org/officeDocument/2006/relationships/tags" Target="../tags/tag987.xml"/><Relationship Id="rId56" Type="http://schemas.openxmlformats.org/officeDocument/2006/relationships/tags" Target="../tags/tag1008.xml"/><Relationship Id="rId77" Type="http://schemas.openxmlformats.org/officeDocument/2006/relationships/tags" Target="../tags/tag1029.xml"/><Relationship Id="rId8" Type="http://schemas.openxmlformats.org/officeDocument/2006/relationships/tags" Target="../tags/tag960.xml"/><Relationship Id="rId51" Type="http://schemas.openxmlformats.org/officeDocument/2006/relationships/tags" Target="../tags/tag1003.xml"/><Relationship Id="rId72" Type="http://schemas.openxmlformats.org/officeDocument/2006/relationships/tags" Target="../tags/tag1024.xml"/><Relationship Id="rId93" Type="http://schemas.openxmlformats.org/officeDocument/2006/relationships/tags" Target="../tags/tag1045.xml"/><Relationship Id="rId98" Type="http://schemas.openxmlformats.org/officeDocument/2006/relationships/image" Target="../media/image12.emf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20.png"/><Relationship Id="rId2" Type="http://schemas.openxmlformats.org/officeDocument/2006/relationships/tags" Target="../tags/tag1065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9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066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067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9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068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0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11.png"/><Relationship Id="rId2" Type="http://schemas.openxmlformats.org/officeDocument/2006/relationships/tags" Target="../tags/tag4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087.xml"/><Relationship Id="rId7" Type="http://schemas.openxmlformats.org/officeDocument/2006/relationships/image" Target="../media/image11.png"/><Relationship Id="rId2" Type="http://schemas.openxmlformats.org/officeDocument/2006/relationships/tags" Target="../tags/tag1086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1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089.xml"/><Relationship Id="rId7" Type="http://schemas.openxmlformats.org/officeDocument/2006/relationships/image" Target="../media/image11.png"/><Relationship Id="rId2" Type="http://schemas.openxmlformats.org/officeDocument/2006/relationships/tags" Target="../tags/tag1088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1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091.xml"/><Relationship Id="rId7" Type="http://schemas.openxmlformats.org/officeDocument/2006/relationships/image" Target="../media/image11.png"/><Relationship Id="rId2" Type="http://schemas.openxmlformats.org/officeDocument/2006/relationships/tags" Target="../tags/tag1090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13.xml"/></Relationships>
</file>

<file path=ppt/slideLayouts/_rels/slideLayout73.xml.rels><?xml version="1.0" encoding="UTF-8" standalone="yes"?>
<Relationships xmlns="http://schemas.openxmlformats.org/package/2006/relationships"><Relationship Id="rId26" Type="http://schemas.openxmlformats.org/officeDocument/2006/relationships/tags" Target="../tags/tag1116.xml"/><Relationship Id="rId21" Type="http://schemas.openxmlformats.org/officeDocument/2006/relationships/tags" Target="../tags/tag1111.xml"/><Relationship Id="rId42" Type="http://schemas.openxmlformats.org/officeDocument/2006/relationships/tags" Target="../tags/tag1132.xml"/><Relationship Id="rId47" Type="http://schemas.openxmlformats.org/officeDocument/2006/relationships/tags" Target="../tags/tag1137.xml"/><Relationship Id="rId63" Type="http://schemas.openxmlformats.org/officeDocument/2006/relationships/tags" Target="../tags/tag1153.xml"/><Relationship Id="rId68" Type="http://schemas.openxmlformats.org/officeDocument/2006/relationships/tags" Target="../tags/tag1158.xml"/><Relationship Id="rId84" Type="http://schemas.openxmlformats.org/officeDocument/2006/relationships/tags" Target="../tags/tag1174.xml"/><Relationship Id="rId89" Type="http://schemas.openxmlformats.org/officeDocument/2006/relationships/tags" Target="../tags/tag1179.xml"/><Relationship Id="rId16" Type="http://schemas.openxmlformats.org/officeDocument/2006/relationships/tags" Target="../tags/tag1106.xml"/><Relationship Id="rId11" Type="http://schemas.openxmlformats.org/officeDocument/2006/relationships/tags" Target="../tags/tag1101.xml"/><Relationship Id="rId32" Type="http://schemas.openxmlformats.org/officeDocument/2006/relationships/tags" Target="../tags/tag1122.xml"/><Relationship Id="rId37" Type="http://schemas.openxmlformats.org/officeDocument/2006/relationships/tags" Target="../tags/tag1127.xml"/><Relationship Id="rId53" Type="http://schemas.openxmlformats.org/officeDocument/2006/relationships/tags" Target="../tags/tag1143.xml"/><Relationship Id="rId58" Type="http://schemas.openxmlformats.org/officeDocument/2006/relationships/tags" Target="../tags/tag1148.xml"/><Relationship Id="rId74" Type="http://schemas.openxmlformats.org/officeDocument/2006/relationships/tags" Target="../tags/tag1164.xml"/><Relationship Id="rId79" Type="http://schemas.openxmlformats.org/officeDocument/2006/relationships/tags" Target="../tags/tag1169.xml"/><Relationship Id="rId5" Type="http://schemas.openxmlformats.org/officeDocument/2006/relationships/tags" Target="../tags/tag1095.xml"/><Relationship Id="rId90" Type="http://schemas.openxmlformats.org/officeDocument/2006/relationships/tags" Target="../tags/tag1180.xml"/><Relationship Id="rId95" Type="http://schemas.openxmlformats.org/officeDocument/2006/relationships/image" Target="../media/image12.emf"/><Relationship Id="rId22" Type="http://schemas.openxmlformats.org/officeDocument/2006/relationships/tags" Target="../tags/tag1112.xml"/><Relationship Id="rId27" Type="http://schemas.openxmlformats.org/officeDocument/2006/relationships/tags" Target="../tags/tag1117.xml"/><Relationship Id="rId43" Type="http://schemas.openxmlformats.org/officeDocument/2006/relationships/tags" Target="../tags/tag1133.xml"/><Relationship Id="rId48" Type="http://schemas.openxmlformats.org/officeDocument/2006/relationships/tags" Target="../tags/tag1138.xml"/><Relationship Id="rId64" Type="http://schemas.openxmlformats.org/officeDocument/2006/relationships/tags" Target="../tags/tag1154.xml"/><Relationship Id="rId69" Type="http://schemas.openxmlformats.org/officeDocument/2006/relationships/tags" Target="../tags/tag1159.xml"/><Relationship Id="rId8" Type="http://schemas.openxmlformats.org/officeDocument/2006/relationships/tags" Target="../tags/tag1098.xml"/><Relationship Id="rId51" Type="http://schemas.openxmlformats.org/officeDocument/2006/relationships/tags" Target="../tags/tag1141.xml"/><Relationship Id="rId72" Type="http://schemas.openxmlformats.org/officeDocument/2006/relationships/tags" Target="../tags/tag1162.xml"/><Relationship Id="rId80" Type="http://schemas.openxmlformats.org/officeDocument/2006/relationships/tags" Target="../tags/tag1170.xml"/><Relationship Id="rId85" Type="http://schemas.openxmlformats.org/officeDocument/2006/relationships/tags" Target="../tags/tag1175.xml"/><Relationship Id="rId93" Type="http://schemas.openxmlformats.org/officeDocument/2006/relationships/slideMaster" Target="../slideMasters/slideMaster13.xml"/><Relationship Id="rId3" Type="http://schemas.openxmlformats.org/officeDocument/2006/relationships/tags" Target="../tags/tag1093.xml"/><Relationship Id="rId12" Type="http://schemas.openxmlformats.org/officeDocument/2006/relationships/tags" Target="../tags/tag1102.xml"/><Relationship Id="rId17" Type="http://schemas.openxmlformats.org/officeDocument/2006/relationships/tags" Target="../tags/tag1107.xml"/><Relationship Id="rId25" Type="http://schemas.openxmlformats.org/officeDocument/2006/relationships/tags" Target="../tags/tag1115.xml"/><Relationship Id="rId33" Type="http://schemas.openxmlformats.org/officeDocument/2006/relationships/tags" Target="../tags/tag1123.xml"/><Relationship Id="rId38" Type="http://schemas.openxmlformats.org/officeDocument/2006/relationships/tags" Target="../tags/tag1128.xml"/><Relationship Id="rId46" Type="http://schemas.openxmlformats.org/officeDocument/2006/relationships/tags" Target="../tags/tag1136.xml"/><Relationship Id="rId59" Type="http://schemas.openxmlformats.org/officeDocument/2006/relationships/tags" Target="../tags/tag1149.xml"/><Relationship Id="rId67" Type="http://schemas.openxmlformats.org/officeDocument/2006/relationships/tags" Target="../tags/tag1157.xml"/><Relationship Id="rId20" Type="http://schemas.openxmlformats.org/officeDocument/2006/relationships/tags" Target="../tags/tag1110.xml"/><Relationship Id="rId41" Type="http://schemas.openxmlformats.org/officeDocument/2006/relationships/tags" Target="../tags/tag1131.xml"/><Relationship Id="rId54" Type="http://schemas.openxmlformats.org/officeDocument/2006/relationships/tags" Target="../tags/tag1144.xml"/><Relationship Id="rId62" Type="http://schemas.openxmlformats.org/officeDocument/2006/relationships/tags" Target="../tags/tag1152.xml"/><Relationship Id="rId70" Type="http://schemas.openxmlformats.org/officeDocument/2006/relationships/tags" Target="../tags/tag1160.xml"/><Relationship Id="rId75" Type="http://schemas.openxmlformats.org/officeDocument/2006/relationships/tags" Target="../tags/tag1165.xml"/><Relationship Id="rId83" Type="http://schemas.openxmlformats.org/officeDocument/2006/relationships/tags" Target="../tags/tag1173.xml"/><Relationship Id="rId88" Type="http://schemas.openxmlformats.org/officeDocument/2006/relationships/tags" Target="../tags/tag1178.xml"/><Relationship Id="rId91" Type="http://schemas.openxmlformats.org/officeDocument/2006/relationships/tags" Target="../tags/tag1181.xml"/><Relationship Id="rId1" Type="http://schemas.openxmlformats.org/officeDocument/2006/relationships/vmlDrawing" Target="../drawings/vmlDrawing75.vml"/><Relationship Id="rId6" Type="http://schemas.openxmlformats.org/officeDocument/2006/relationships/tags" Target="../tags/tag1096.xml"/><Relationship Id="rId15" Type="http://schemas.openxmlformats.org/officeDocument/2006/relationships/tags" Target="../tags/tag1105.xml"/><Relationship Id="rId23" Type="http://schemas.openxmlformats.org/officeDocument/2006/relationships/tags" Target="../tags/tag1113.xml"/><Relationship Id="rId28" Type="http://schemas.openxmlformats.org/officeDocument/2006/relationships/tags" Target="../tags/tag1118.xml"/><Relationship Id="rId36" Type="http://schemas.openxmlformats.org/officeDocument/2006/relationships/tags" Target="../tags/tag1126.xml"/><Relationship Id="rId49" Type="http://schemas.openxmlformats.org/officeDocument/2006/relationships/tags" Target="../tags/tag1139.xml"/><Relationship Id="rId57" Type="http://schemas.openxmlformats.org/officeDocument/2006/relationships/tags" Target="../tags/tag1147.xml"/><Relationship Id="rId10" Type="http://schemas.openxmlformats.org/officeDocument/2006/relationships/tags" Target="../tags/tag1100.xml"/><Relationship Id="rId31" Type="http://schemas.openxmlformats.org/officeDocument/2006/relationships/tags" Target="../tags/tag1121.xml"/><Relationship Id="rId44" Type="http://schemas.openxmlformats.org/officeDocument/2006/relationships/tags" Target="../tags/tag1134.xml"/><Relationship Id="rId52" Type="http://schemas.openxmlformats.org/officeDocument/2006/relationships/tags" Target="../tags/tag1142.xml"/><Relationship Id="rId60" Type="http://schemas.openxmlformats.org/officeDocument/2006/relationships/tags" Target="../tags/tag1150.xml"/><Relationship Id="rId65" Type="http://schemas.openxmlformats.org/officeDocument/2006/relationships/tags" Target="../tags/tag1155.xml"/><Relationship Id="rId73" Type="http://schemas.openxmlformats.org/officeDocument/2006/relationships/tags" Target="../tags/tag1163.xml"/><Relationship Id="rId78" Type="http://schemas.openxmlformats.org/officeDocument/2006/relationships/tags" Target="../tags/tag1168.xml"/><Relationship Id="rId81" Type="http://schemas.openxmlformats.org/officeDocument/2006/relationships/tags" Target="../tags/tag1171.xml"/><Relationship Id="rId86" Type="http://schemas.openxmlformats.org/officeDocument/2006/relationships/tags" Target="../tags/tag1176.xml"/><Relationship Id="rId94" Type="http://schemas.openxmlformats.org/officeDocument/2006/relationships/oleObject" Target="../embeddings/oleObject75.bin"/><Relationship Id="rId4" Type="http://schemas.openxmlformats.org/officeDocument/2006/relationships/tags" Target="../tags/tag1094.xml"/><Relationship Id="rId9" Type="http://schemas.openxmlformats.org/officeDocument/2006/relationships/tags" Target="../tags/tag1099.xml"/><Relationship Id="rId13" Type="http://schemas.openxmlformats.org/officeDocument/2006/relationships/tags" Target="../tags/tag1103.xml"/><Relationship Id="rId18" Type="http://schemas.openxmlformats.org/officeDocument/2006/relationships/tags" Target="../tags/tag1108.xml"/><Relationship Id="rId39" Type="http://schemas.openxmlformats.org/officeDocument/2006/relationships/tags" Target="../tags/tag1129.xml"/><Relationship Id="rId34" Type="http://schemas.openxmlformats.org/officeDocument/2006/relationships/tags" Target="../tags/tag1124.xml"/><Relationship Id="rId50" Type="http://schemas.openxmlformats.org/officeDocument/2006/relationships/tags" Target="../tags/tag1140.xml"/><Relationship Id="rId55" Type="http://schemas.openxmlformats.org/officeDocument/2006/relationships/tags" Target="../tags/tag1145.xml"/><Relationship Id="rId76" Type="http://schemas.openxmlformats.org/officeDocument/2006/relationships/tags" Target="../tags/tag1166.xml"/><Relationship Id="rId7" Type="http://schemas.openxmlformats.org/officeDocument/2006/relationships/tags" Target="../tags/tag1097.xml"/><Relationship Id="rId71" Type="http://schemas.openxmlformats.org/officeDocument/2006/relationships/tags" Target="../tags/tag1161.xml"/><Relationship Id="rId92" Type="http://schemas.openxmlformats.org/officeDocument/2006/relationships/tags" Target="../tags/tag1182.xml"/><Relationship Id="rId2" Type="http://schemas.openxmlformats.org/officeDocument/2006/relationships/tags" Target="../tags/tag1092.xml"/><Relationship Id="rId29" Type="http://schemas.openxmlformats.org/officeDocument/2006/relationships/tags" Target="../tags/tag1119.xml"/><Relationship Id="rId24" Type="http://schemas.openxmlformats.org/officeDocument/2006/relationships/tags" Target="../tags/tag1114.xml"/><Relationship Id="rId40" Type="http://schemas.openxmlformats.org/officeDocument/2006/relationships/tags" Target="../tags/tag1130.xml"/><Relationship Id="rId45" Type="http://schemas.openxmlformats.org/officeDocument/2006/relationships/tags" Target="../tags/tag1135.xml"/><Relationship Id="rId66" Type="http://schemas.openxmlformats.org/officeDocument/2006/relationships/tags" Target="../tags/tag1156.xml"/><Relationship Id="rId87" Type="http://schemas.openxmlformats.org/officeDocument/2006/relationships/tags" Target="../tags/tag1177.xml"/><Relationship Id="rId61" Type="http://schemas.openxmlformats.org/officeDocument/2006/relationships/tags" Target="../tags/tag1151.xml"/><Relationship Id="rId82" Type="http://schemas.openxmlformats.org/officeDocument/2006/relationships/tags" Target="../tags/tag1172.xml"/><Relationship Id="rId19" Type="http://schemas.openxmlformats.org/officeDocument/2006/relationships/tags" Target="../tags/tag1109.xml"/><Relationship Id="rId14" Type="http://schemas.openxmlformats.org/officeDocument/2006/relationships/tags" Target="../tags/tag1104.xml"/><Relationship Id="rId30" Type="http://schemas.openxmlformats.org/officeDocument/2006/relationships/tags" Target="../tags/tag1120.xml"/><Relationship Id="rId35" Type="http://schemas.openxmlformats.org/officeDocument/2006/relationships/tags" Target="../tags/tag1125.xml"/><Relationship Id="rId56" Type="http://schemas.openxmlformats.org/officeDocument/2006/relationships/tags" Target="../tags/tag1146.xml"/><Relationship Id="rId77" Type="http://schemas.openxmlformats.org/officeDocument/2006/relationships/tags" Target="../tags/tag1167.xml"/></Relationships>
</file>

<file path=ppt/slideLayouts/_rels/slideLayout74.xml.rels><?xml version="1.0" encoding="UTF-8" standalone="yes"?>
<Relationships xmlns="http://schemas.openxmlformats.org/package/2006/relationships"><Relationship Id="rId26" Type="http://schemas.openxmlformats.org/officeDocument/2006/relationships/tags" Target="../tags/tag1207.xml"/><Relationship Id="rId21" Type="http://schemas.openxmlformats.org/officeDocument/2006/relationships/tags" Target="../tags/tag1202.xml"/><Relationship Id="rId42" Type="http://schemas.openxmlformats.org/officeDocument/2006/relationships/tags" Target="../tags/tag1223.xml"/><Relationship Id="rId47" Type="http://schemas.openxmlformats.org/officeDocument/2006/relationships/tags" Target="../tags/tag1228.xml"/><Relationship Id="rId63" Type="http://schemas.openxmlformats.org/officeDocument/2006/relationships/tags" Target="../tags/tag1244.xml"/><Relationship Id="rId68" Type="http://schemas.openxmlformats.org/officeDocument/2006/relationships/tags" Target="../tags/tag1249.xml"/><Relationship Id="rId84" Type="http://schemas.openxmlformats.org/officeDocument/2006/relationships/tags" Target="../tags/tag1265.xml"/><Relationship Id="rId89" Type="http://schemas.openxmlformats.org/officeDocument/2006/relationships/tags" Target="../tags/tag1270.xml"/><Relationship Id="rId16" Type="http://schemas.openxmlformats.org/officeDocument/2006/relationships/tags" Target="../tags/tag1197.xml"/><Relationship Id="rId11" Type="http://schemas.openxmlformats.org/officeDocument/2006/relationships/tags" Target="../tags/tag1192.xml"/><Relationship Id="rId32" Type="http://schemas.openxmlformats.org/officeDocument/2006/relationships/tags" Target="../tags/tag1213.xml"/><Relationship Id="rId37" Type="http://schemas.openxmlformats.org/officeDocument/2006/relationships/tags" Target="../tags/tag1218.xml"/><Relationship Id="rId53" Type="http://schemas.openxmlformats.org/officeDocument/2006/relationships/tags" Target="../tags/tag1234.xml"/><Relationship Id="rId58" Type="http://schemas.openxmlformats.org/officeDocument/2006/relationships/tags" Target="../tags/tag1239.xml"/><Relationship Id="rId74" Type="http://schemas.openxmlformats.org/officeDocument/2006/relationships/tags" Target="../tags/tag1255.xml"/><Relationship Id="rId79" Type="http://schemas.openxmlformats.org/officeDocument/2006/relationships/tags" Target="../tags/tag1260.xml"/><Relationship Id="rId5" Type="http://schemas.openxmlformats.org/officeDocument/2006/relationships/tags" Target="../tags/tag1186.xml"/><Relationship Id="rId90" Type="http://schemas.openxmlformats.org/officeDocument/2006/relationships/tags" Target="../tags/tag1271.xml"/><Relationship Id="rId95" Type="http://schemas.openxmlformats.org/officeDocument/2006/relationships/image" Target="../media/image12.emf"/><Relationship Id="rId22" Type="http://schemas.openxmlformats.org/officeDocument/2006/relationships/tags" Target="../tags/tag1203.xml"/><Relationship Id="rId27" Type="http://schemas.openxmlformats.org/officeDocument/2006/relationships/tags" Target="../tags/tag1208.xml"/><Relationship Id="rId43" Type="http://schemas.openxmlformats.org/officeDocument/2006/relationships/tags" Target="../tags/tag1224.xml"/><Relationship Id="rId48" Type="http://schemas.openxmlformats.org/officeDocument/2006/relationships/tags" Target="../tags/tag1229.xml"/><Relationship Id="rId64" Type="http://schemas.openxmlformats.org/officeDocument/2006/relationships/tags" Target="../tags/tag1245.xml"/><Relationship Id="rId69" Type="http://schemas.openxmlformats.org/officeDocument/2006/relationships/tags" Target="../tags/tag1250.xml"/><Relationship Id="rId8" Type="http://schemas.openxmlformats.org/officeDocument/2006/relationships/tags" Target="../tags/tag1189.xml"/><Relationship Id="rId51" Type="http://schemas.openxmlformats.org/officeDocument/2006/relationships/tags" Target="../tags/tag1232.xml"/><Relationship Id="rId72" Type="http://schemas.openxmlformats.org/officeDocument/2006/relationships/tags" Target="../tags/tag1253.xml"/><Relationship Id="rId80" Type="http://schemas.openxmlformats.org/officeDocument/2006/relationships/tags" Target="../tags/tag1261.xml"/><Relationship Id="rId85" Type="http://schemas.openxmlformats.org/officeDocument/2006/relationships/tags" Target="../tags/tag1266.xml"/><Relationship Id="rId93" Type="http://schemas.openxmlformats.org/officeDocument/2006/relationships/slideMaster" Target="../slideMasters/slideMaster13.xml"/><Relationship Id="rId3" Type="http://schemas.openxmlformats.org/officeDocument/2006/relationships/tags" Target="../tags/tag1184.xml"/><Relationship Id="rId12" Type="http://schemas.openxmlformats.org/officeDocument/2006/relationships/tags" Target="../tags/tag1193.xml"/><Relationship Id="rId17" Type="http://schemas.openxmlformats.org/officeDocument/2006/relationships/tags" Target="../tags/tag1198.xml"/><Relationship Id="rId25" Type="http://schemas.openxmlformats.org/officeDocument/2006/relationships/tags" Target="../tags/tag1206.xml"/><Relationship Id="rId33" Type="http://schemas.openxmlformats.org/officeDocument/2006/relationships/tags" Target="../tags/tag1214.xml"/><Relationship Id="rId38" Type="http://schemas.openxmlformats.org/officeDocument/2006/relationships/tags" Target="../tags/tag1219.xml"/><Relationship Id="rId46" Type="http://schemas.openxmlformats.org/officeDocument/2006/relationships/tags" Target="../tags/tag1227.xml"/><Relationship Id="rId59" Type="http://schemas.openxmlformats.org/officeDocument/2006/relationships/tags" Target="../tags/tag1240.xml"/><Relationship Id="rId67" Type="http://schemas.openxmlformats.org/officeDocument/2006/relationships/tags" Target="../tags/tag1248.xml"/><Relationship Id="rId20" Type="http://schemas.openxmlformats.org/officeDocument/2006/relationships/tags" Target="../tags/tag1201.xml"/><Relationship Id="rId41" Type="http://schemas.openxmlformats.org/officeDocument/2006/relationships/tags" Target="../tags/tag1222.xml"/><Relationship Id="rId54" Type="http://schemas.openxmlformats.org/officeDocument/2006/relationships/tags" Target="../tags/tag1235.xml"/><Relationship Id="rId62" Type="http://schemas.openxmlformats.org/officeDocument/2006/relationships/tags" Target="../tags/tag1243.xml"/><Relationship Id="rId70" Type="http://schemas.openxmlformats.org/officeDocument/2006/relationships/tags" Target="../tags/tag1251.xml"/><Relationship Id="rId75" Type="http://schemas.openxmlformats.org/officeDocument/2006/relationships/tags" Target="../tags/tag1256.xml"/><Relationship Id="rId83" Type="http://schemas.openxmlformats.org/officeDocument/2006/relationships/tags" Target="../tags/tag1264.xml"/><Relationship Id="rId88" Type="http://schemas.openxmlformats.org/officeDocument/2006/relationships/tags" Target="../tags/tag1269.xml"/><Relationship Id="rId91" Type="http://schemas.openxmlformats.org/officeDocument/2006/relationships/tags" Target="../tags/tag1272.xml"/><Relationship Id="rId1" Type="http://schemas.openxmlformats.org/officeDocument/2006/relationships/vmlDrawing" Target="../drawings/vmlDrawing76.vml"/><Relationship Id="rId6" Type="http://schemas.openxmlformats.org/officeDocument/2006/relationships/tags" Target="../tags/tag1187.xml"/><Relationship Id="rId15" Type="http://schemas.openxmlformats.org/officeDocument/2006/relationships/tags" Target="../tags/tag1196.xml"/><Relationship Id="rId23" Type="http://schemas.openxmlformats.org/officeDocument/2006/relationships/tags" Target="../tags/tag1204.xml"/><Relationship Id="rId28" Type="http://schemas.openxmlformats.org/officeDocument/2006/relationships/tags" Target="../tags/tag1209.xml"/><Relationship Id="rId36" Type="http://schemas.openxmlformats.org/officeDocument/2006/relationships/tags" Target="../tags/tag1217.xml"/><Relationship Id="rId49" Type="http://schemas.openxmlformats.org/officeDocument/2006/relationships/tags" Target="../tags/tag1230.xml"/><Relationship Id="rId57" Type="http://schemas.openxmlformats.org/officeDocument/2006/relationships/tags" Target="../tags/tag1238.xml"/><Relationship Id="rId10" Type="http://schemas.openxmlformats.org/officeDocument/2006/relationships/tags" Target="../tags/tag1191.xml"/><Relationship Id="rId31" Type="http://schemas.openxmlformats.org/officeDocument/2006/relationships/tags" Target="../tags/tag1212.xml"/><Relationship Id="rId44" Type="http://schemas.openxmlformats.org/officeDocument/2006/relationships/tags" Target="../tags/tag1225.xml"/><Relationship Id="rId52" Type="http://schemas.openxmlformats.org/officeDocument/2006/relationships/tags" Target="../tags/tag1233.xml"/><Relationship Id="rId60" Type="http://schemas.openxmlformats.org/officeDocument/2006/relationships/tags" Target="../tags/tag1241.xml"/><Relationship Id="rId65" Type="http://schemas.openxmlformats.org/officeDocument/2006/relationships/tags" Target="../tags/tag1246.xml"/><Relationship Id="rId73" Type="http://schemas.openxmlformats.org/officeDocument/2006/relationships/tags" Target="../tags/tag1254.xml"/><Relationship Id="rId78" Type="http://schemas.openxmlformats.org/officeDocument/2006/relationships/tags" Target="../tags/tag1259.xml"/><Relationship Id="rId81" Type="http://schemas.openxmlformats.org/officeDocument/2006/relationships/tags" Target="../tags/tag1262.xml"/><Relationship Id="rId86" Type="http://schemas.openxmlformats.org/officeDocument/2006/relationships/tags" Target="../tags/tag1267.xml"/><Relationship Id="rId94" Type="http://schemas.openxmlformats.org/officeDocument/2006/relationships/oleObject" Target="../embeddings/oleObject76.bin"/><Relationship Id="rId4" Type="http://schemas.openxmlformats.org/officeDocument/2006/relationships/tags" Target="../tags/tag1185.xml"/><Relationship Id="rId9" Type="http://schemas.openxmlformats.org/officeDocument/2006/relationships/tags" Target="../tags/tag1190.xml"/><Relationship Id="rId13" Type="http://schemas.openxmlformats.org/officeDocument/2006/relationships/tags" Target="../tags/tag1194.xml"/><Relationship Id="rId18" Type="http://schemas.openxmlformats.org/officeDocument/2006/relationships/tags" Target="../tags/tag1199.xml"/><Relationship Id="rId39" Type="http://schemas.openxmlformats.org/officeDocument/2006/relationships/tags" Target="../tags/tag1220.xml"/><Relationship Id="rId34" Type="http://schemas.openxmlformats.org/officeDocument/2006/relationships/tags" Target="../tags/tag1215.xml"/><Relationship Id="rId50" Type="http://schemas.openxmlformats.org/officeDocument/2006/relationships/tags" Target="../tags/tag1231.xml"/><Relationship Id="rId55" Type="http://schemas.openxmlformats.org/officeDocument/2006/relationships/tags" Target="../tags/tag1236.xml"/><Relationship Id="rId76" Type="http://schemas.openxmlformats.org/officeDocument/2006/relationships/tags" Target="../tags/tag1257.xml"/><Relationship Id="rId7" Type="http://schemas.openxmlformats.org/officeDocument/2006/relationships/tags" Target="../tags/tag1188.xml"/><Relationship Id="rId71" Type="http://schemas.openxmlformats.org/officeDocument/2006/relationships/tags" Target="../tags/tag1252.xml"/><Relationship Id="rId92" Type="http://schemas.openxmlformats.org/officeDocument/2006/relationships/tags" Target="../tags/tag1273.xml"/><Relationship Id="rId2" Type="http://schemas.openxmlformats.org/officeDocument/2006/relationships/tags" Target="../tags/tag1183.xml"/><Relationship Id="rId29" Type="http://schemas.openxmlformats.org/officeDocument/2006/relationships/tags" Target="../tags/tag1210.xml"/><Relationship Id="rId24" Type="http://schemas.openxmlformats.org/officeDocument/2006/relationships/tags" Target="../tags/tag1205.xml"/><Relationship Id="rId40" Type="http://schemas.openxmlformats.org/officeDocument/2006/relationships/tags" Target="../tags/tag1221.xml"/><Relationship Id="rId45" Type="http://schemas.openxmlformats.org/officeDocument/2006/relationships/tags" Target="../tags/tag1226.xml"/><Relationship Id="rId66" Type="http://schemas.openxmlformats.org/officeDocument/2006/relationships/tags" Target="../tags/tag1247.xml"/><Relationship Id="rId87" Type="http://schemas.openxmlformats.org/officeDocument/2006/relationships/tags" Target="../tags/tag1268.xml"/><Relationship Id="rId61" Type="http://schemas.openxmlformats.org/officeDocument/2006/relationships/tags" Target="../tags/tag1242.xml"/><Relationship Id="rId82" Type="http://schemas.openxmlformats.org/officeDocument/2006/relationships/tags" Target="../tags/tag1263.xml"/><Relationship Id="rId19" Type="http://schemas.openxmlformats.org/officeDocument/2006/relationships/tags" Target="../tags/tag1200.xml"/><Relationship Id="rId14" Type="http://schemas.openxmlformats.org/officeDocument/2006/relationships/tags" Target="../tags/tag1195.xml"/><Relationship Id="rId30" Type="http://schemas.openxmlformats.org/officeDocument/2006/relationships/tags" Target="../tags/tag1211.xml"/><Relationship Id="rId35" Type="http://schemas.openxmlformats.org/officeDocument/2006/relationships/tags" Target="../tags/tag1216.xml"/><Relationship Id="rId56" Type="http://schemas.openxmlformats.org/officeDocument/2006/relationships/tags" Target="../tags/tag1237.xml"/><Relationship Id="rId77" Type="http://schemas.openxmlformats.org/officeDocument/2006/relationships/tags" Target="../tags/tag1258.xml"/></Relationships>
</file>

<file path=ppt/slideLayouts/_rels/slideLayout75.xml.rels><?xml version="1.0" encoding="UTF-8" standalone="yes"?>
<Relationships xmlns="http://schemas.openxmlformats.org/package/2006/relationships"><Relationship Id="rId26" Type="http://schemas.openxmlformats.org/officeDocument/2006/relationships/tags" Target="../tags/tag1298.xml"/><Relationship Id="rId21" Type="http://schemas.openxmlformats.org/officeDocument/2006/relationships/tags" Target="../tags/tag1293.xml"/><Relationship Id="rId42" Type="http://schemas.openxmlformats.org/officeDocument/2006/relationships/tags" Target="../tags/tag1314.xml"/><Relationship Id="rId47" Type="http://schemas.openxmlformats.org/officeDocument/2006/relationships/tags" Target="../tags/tag1319.xml"/><Relationship Id="rId63" Type="http://schemas.openxmlformats.org/officeDocument/2006/relationships/tags" Target="../tags/tag1335.xml"/><Relationship Id="rId68" Type="http://schemas.openxmlformats.org/officeDocument/2006/relationships/tags" Target="../tags/tag1340.xml"/><Relationship Id="rId84" Type="http://schemas.openxmlformats.org/officeDocument/2006/relationships/tags" Target="../tags/tag1356.xml"/><Relationship Id="rId89" Type="http://schemas.openxmlformats.org/officeDocument/2006/relationships/tags" Target="../tags/tag1361.xml"/><Relationship Id="rId16" Type="http://schemas.openxmlformats.org/officeDocument/2006/relationships/tags" Target="../tags/tag1288.xml"/><Relationship Id="rId11" Type="http://schemas.openxmlformats.org/officeDocument/2006/relationships/tags" Target="../tags/tag1283.xml"/><Relationship Id="rId32" Type="http://schemas.openxmlformats.org/officeDocument/2006/relationships/tags" Target="../tags/tag1304.xml"/><Relationship Id="rId37" Type="http://schemas.openxmlformats.org/officeDocument/2006/relationships/tags" Target="../tags/tag1309.xml"/><Relationship Id="rId53" Type="http://schemas.openxmlformats.org/officeDocument/2006/relationships/tags" Target="../tags/tag1325.xml"/><Relationship Id="rId58" Type="http://schemas.openxmlformats.org/officeDocument/2006/relationships/tags" Target="../tags/tag1330.xml"/><Relationship Id="rId74" Type="http://schemas.openxmlformats.org/officeDocument/2006/relationships/tags" Target="../tags/tag1346.xml"/><Relationship Id="rId79" Type="http://schemas.openxmlformats.org/officeDocument/2006/relationships/tags" Target="../tags/tag1351.xml"/><Relationship Id="rId5" Type="http://schemas.openxmlformats.org/officeDocument/2006/relationships/tags" Target="../tags/tag1277.xml"/><Relationship Id="rId90" Type="http://schemas.openxmlformats.org/officeDocument/2006/relationships/tags" Target="../tags/tag1362.xml"/><Relationship Id="rId95" Type="http://schemas.openxmlformats.org/officeDocument/2006/relationships/slideMaster" Target="../slideMasters/slideMaster13.xml"/><Relationship Id="rId22" Type="http://schemas.openxmlformats.org/officeDocument/2006/relationships/tags" Target="../tags/tag1294.xml"/><Relationship Id="rId27" Type="http://schemas.openxmlformats.org/officeDocument/2006/relationships/tags" Target="../tags/tag1299.xml"/><Relationship Id="rId43" Type="http://schemas.openxmlformats.org/officeDocument/2006/relationships/tags" Target="../tags/tag1315.xml"/><Relationship Id="rId48" Type="http://schemas.openxmlformats.org/officeDocument/2006/relationships/tags" Target="../tags/tag1320.xml"/><Relationship Id="rId64" Type="http://schemas.openxmlformats.org/officeDocument/2006/relationships/tags" Target="../tags/tag1336.xml"/><Relationship Id="rId69" Type="http://schemas.openxmlformats.org/officeDocument/2006/relationships/tags" Target="../tags/tag1341.xml"/><Relationship Id="rId80" Type="http://schemas.openxmlformats.org/officeDocument/2006/relationships/tags" Target="../tags/tag1352.xml"/><Relationship Id="rId85" Type="http://schemas.openxmlformats.org/officeDocument/2006/relationships/tags" Target="../tags/tag1357.xml"/><Relationship Id="rId3" Type="http://schemas.openxmlformats.org/officeDocument/2006/relationships/tags" Target="../tags/tag1275.xml"/><Relationship Id="rId12" Type="http://schemas.openxmlformats.org/officeDocument/2006/relationships/tags" Target="../tags/tag1284.xml"/><Relationship Id="rId17" Type="http://schemas.openxmlformats.org/officeDocument/2006/relationships/tags" Target="../tags/tag1289.xml"/><Relationship Id="rId25" Type="http://schemas.openxmlformats.org/officeDocument/2006/relationships/tags" Target="../tags/tag1297.xml"/><Relationship Id="rId33" Type="http://schemas.openxmlformats.org/officeDocument/2006/relationships/tags" Target="../tags/tag1305.xml"/><Relationship Id="rId38" Type="http://schemas.openxmlformats.org/officeDocument/2006/relationships/tags" Target="../tags/tag1310.xml"/><Relationship Id="rId46" Type="http://schemas.openxmlformats.org/officeDocument/2006/relationships/tags" Target="../tags/tag1318.xml"/><Relationship Id="rId59" Type="http://schemas.openxmlformats.org/officeDocument/2006/relationships/tags" Target="../tags/tag1331.xml"/><Relationship Id="rId67" Type="http://schemas.openxmlformats.org/officeDocument/2006/relationships/tags" Target="../tags/tag1339.xml"/><Relationship Id="rId20" Type="http://schemas.openxmlformats.org/officeDocument/2006/relationships/tags" Target="../tags/tag1292.xml"/><Relationship Id="rId41" Type="http://schemas.openxmlformats.org/officeDocument/2006/relationships/tags" Target="../tags/tag1313.xml"/><Relationship Id="rId54" Type="http://schemas.openxmlformats.org/officeDocument/2006/relationships/tags" Target="../tags/tag1326.xml"/><Relationship Id="rId62" Type="http://schemas.openxmlformats.org/officeDocument/2006/relationships/tags" Target="../tags/tag1334.xml"/><Relationship Id="rId70" Type="http://schemas.openxmlformats.org/officeDocument/2006/relationships/tags" Target="../tags/tag1342.xml"/><Relationship Id="rId75" Type="http://schemas.openxmlformats.org/officeDocument/2006/relationships/tags" Target="../tags/tag1347.xml"/><Relationship Id="rId83" Type="http://schemas.openxmlformats.org/officeDocument/2006/relationships/tags" Target="../tags/tag1355.xml"/><Relationship Id="rId88" Type="http://schemas.openxmlformats.org/officeDocument/2006/relationships/tags" Target="../tags/tag1360.xml"/><Relationship Id="rId91" Type="http://schemas.openxmlformats.org/officeDocument/2006/relationships/tags" Target="../tags/tag1363.xml"/><Relationship Id="rId96" Type="http://schemas.openxmlformats.org/officeDocument/2006/relationships/oleObject" Target="../embeddings/oleObject77.bin"/><Relationship Id="rId1" Type="http://schemas.openxmlformats.org/officeDocument/2006/relationships/vmlDrawing" Target="../drawings/vmlDrawing77.vml"/><Relationship Id="rId6" Type="http://schemas.openxmlformats.org/officeDocument/2006/relationships/tags" Target="../tags/tag1278.xml"/><Relationship Id="rId15" Type="http://schemas.openxmlformats.org/officeDocument/2006/relationships/tags" Target="../tags/tag1287.xml"/><Relationship Id="rId23" Type="http://schemas.openxmlformats.org/officeDocument/2006/relationships/tags" Target="../tags/tag1295.xml"/><Relationship Id="rId28" Type="http://schemas.openxmlformats.org/officeDocument/2006/relationships/tags" Target="../tags/tag1300.xml"/><Relationship Id="rId36" Type="http://schemas.openxmlformats.org/officeDocument/2006/relationships/tags" Target="../tags/tag1308.xml"/><Relationship Id="rId49" Type="http://schemas.openxmlformats.org/officeDocument/2006/relationships/tags" Target="../tags/tag1321.xml"/><Relationship Id="rId57" Type="http://schemas.openxmlformats.org/officeDocument/2006/relationships/tags" Target="../tags/tag1329.xml"/><Relationship Id="rId10" Type="http://schemas.openxmlformats.org/officeDocument/2006/relationships/tags" Target="../tags/tag1282.xml"/><Relationship Id="rId31" Type="http://schemas.openxmlformats.org/officeDocument/2006/relationships/tags" Target="../tags/tag1303.xml"/><Relationship Id="rId44" Type="http://schemas.openxmlformats.org/officeDocument/2006/relationships/tags" Target="../tags/tag1316.xml"/><Relationship Id="rId52" Type="http://schemas.openxmlformats.org/officeDocument/2006/relationships/tags" Target="../tags/tag1324.xml"/><Relationship Id="rId60" Type="http://schemas.openxmlformats.org/officeDocument/2006/relationships/tags" Target="../tags/tag1332.xml"/><Relationship Id="rId65" Type="http://schemas.openxmlformats.org/officeDocument/2006/relationships/tags" Target="../tags/tag1337.xml"/><Relationship Id="rId73" Type="http://schemas.openxmlformats.org/officeDocument/2006/relationships/tags" Target="../tags/tag1345.xml"/><Relationship Id="rId78" Type="http://schemas.openxmlformats.org/officeDocument/2006/relationships/tags" Target="../tags/tag1350.xml"/><Relationship Id="rId81" Type="http://schemas.openxmlformats.org/officeDocument/2006/relationships/tags" Target="../tags/tag1353.xml"/><Relationship Id="rId86" Type="http://schemas.openxmlformats.org/officeDocument/2006/relationships/tags" Target="../tags/tag1358.xml"/><Relationship Id="rId94" Type="http://schemas.openxmlformats.org/officeDocument/2006/relationships/tags" Target="../tags/tag1366.xml"/><Relationship Id="rId4" Type="http://schemas.openxmlformats.org/officeDocument/2006/relationships/tags" Target="../tags/tag1276.xml"/><Relationship Id="rId9" Type="http://schemas.openxmlformats.org/officeDocument/2006/relationships/tags" Target="../tags/tag1281.xml"/><Relationship Id="rId13" Type="http://schemas.openxmlformats.org/officeDocument/2006/relationships/tags" Target="../tags/tag1285.xml"/><Relationship Id="rId18" Type="http://schemas.openxmlformats.org/officeDocument/2006/relationships/tags" Target="../tags/tag1290.xml"/><Relationship Id="rId39" Type="http://schemas.openxmlformats.org/officeDocument/2006/relationships/tags" Target="../tags/tag1311.xml"/><Relationship Id="rId34" Type="http://schemas.openxmlformats.org/officeDocument/2006/relationships/tags" Target="../tags/tag1306.xml"/><Relationship Id="rId50" Type="http://schemas.openxmlformats.org/officeDocument/2006/relationships/tags" Target="../tags/tag1322.xml"/><Relationship Id="rId55" Type="http://schemas.openxmlformats.org/officeDocument/2006/relationships/tags" Target="../tags/tag1327.xml"/><Relationship Id="rId76" Type="http://schemas.openxmlformats.org/officeDocument/2006/relationships/tags" Target="../tags/tag1348.xml"/><Relationship Id="rId97" Type="http://schemas.openxmlformats.org/officeDocument/2006/relationships/image" Target="../media/image12.emf"/><Relationship Id="rId7" Type="http://schemas.openxmlformats.org/officeDocument/2006/relationships/tags" Target="../tags/tag1279.xml"/><Relationship Id="rId71" Type="http://schemas.openxmlformats.org/officeDocument/2006/relationships/tags" Target="../tags/tag1343.xml"/><Relationship Id="rId92" Type="http://schemas.openxmlformats.org/officeDocument/2006/relationships/tags" Target="../tags/tag1364.xml"/><Relationship Id="rId2" Type="http://schemas.openxmlformats.org/officeDocument/2006/relationships/tags" Target="../tags/tag1274.xml"/><Relationship Id="rId29" Type="http://schemas.openxmlformats.org/officeDocument/2006/relationships/tags" Target="../tags/tag1301.xml"/><Relationship Id="rId24" Type="http://schemas.openxmlformats.org/officeDocument/2006/relationships/tags" Target="../tags/tag1296.xml"/><Relationship Id="rId40" Type="http://schemas.openxmlformats.org/officeDocument/2006/relationships/tags" Target="../tags/tag1312.xml"/><Relationship Id="rId45" Type="http://schemas.openxmlformats.org/officeDocument/2006/relationships/tags" Target="../tags/tag1317.xml"/><Relationship Id="rId66" Type="http://schemas.openxmlformats.org/officeDocument/2006/relationships/tags" Target="../tags/tag1338.xml"/><Relationship Id="rId87" Type="http://schemas.openxmlformats.org/officeDocument/2006/relationships/tags" Target="../tags/tag1359.xml"/><Relationship Id="rId61" Type="http://schemas.openxmlformats.org/officeDocument/2006/relationships/tags" Target="../tags/tag1333.xml"/><Relationship Id="rId82" Type="http://schemas.openxmlformats.org/officeDocument/2006/relationships/tags" Target="../tags/tag1354.xml"/><Relationship Id="rId19" Type="http://schemas.openxmlformats.org/officeDocument/2006/relationships/tags" Target="../tags/tag1291.xml"/><Relationship Id="rId14" Type="http://schemas.openxmlformats.org/officeDocument/2006/relationships/tags" Target="../tags/tag1286.xml"/><Relationship Id="rId30" Type="http://schemas.openxmlformats.org/officeDocument/2006/relationships/tags" Target="../tags/tag1302.xml"/><Relationship Id="rId35" Type="http://schemas.openxmlformats.org/officeDocument/2006/relationships/tags" Target="../tags/tag1307.xml"/><Relationship Id="rId56" Type="http://schemas.openxmlformats.org/officeDocument/2006/relationships/tags" Target="../tags/tag1328.xml"/><Relationship Id="rId77" Type="http://schemas.openxmlformats.org/officeDocument/2006/relationships/tags" Target="../tags/tag1349.xml"/><Relationship Id="rId8" Type="http://schemas.openxmlformats.org/officeDocument/2006/relationships/tags" Target="../tags/tag1280.xml"/><Relationship Id="rId51" Type="http://schemas.openxmlformats.org/officeDocument/2006/relationships/tags" Target="../tags/tag1323.xml"/><Relationship Id="rId72" Type="http://schemas.openxmlformats.org/officeDocument/2006/relationships/tags" Target="../tags/tag1344.xml"/><Relationship Id="rId93" Type="http://schemas.openxmlformats.org/officeDocument/2006/relationships/tags" Target="../tags/tag1365.xml"/></Relationships>
</file>

<file path=ppt/slideLayouts/_rels/slideLayout76.xml.rels><?xml version="1.0" encoding="UTF-8" standalone="yes"?>
<Relationships xmlns="http://schemas.openxmlformats.org/package/2006/relationships"><Relationship Id="rId26" Type="http://schemas.openxmlformats.org/officeDocument/2006/relationships/tags" Target="../tags/tag1391.xml"/><Relationship Id="rId21" Type="http://schemas.openxmlformats.org/officeDocument/2006/relationships/tags" Target="../tags/tag1386.xml"/><Relationship Id="rId42" Type="http://schemas.openxmlformats.org/officeDocument/2006/relationships/tags" Target="../tags/tag1407.xml"/><Relationship Id="rId47" Type="http://schemas.openxmlformats.org/officeDocument/2006/relationships/tags" Target="../tags/tag1412.xml"/><Relationship Id="rId63" Type="http://schemas.openxmlformats.org/officeDocument/2006/relationships/tags" Target="../tags/tag1428.xml"/><Relationship Id="rId68" Type="http://schemas.openxmlformats.org/officeDocument/2006/relationships/tags" Target="../tags/tag1433.xml"/><Relationship Id="rId84" Type="http://schemas.openxmlformats.org/officeDocument/2006/relationships/tags" Target="../tags/tag1449.xml"/><Relationship Id="rId89" Type="http://schemas.openxmlformats.org/officeDocument/2006/relationships/tags" Target="../tags/tag1454.xml"/><Relationship Id="rId16" Type="http://schemas.openxmlformats.org/officeDocument/2006/relationships/tags" Target="../tags/tag1381.xml"/><Relationship Id="rId11" Type="http://schemas.openxmlformats.org/officeDocument/2006/relationships/tags" Target="../tags/tag1376.xml"/><Relationship Id="rId32" Type="http://schemas.openxmlformats.org/officeDocument/2006/relationships/tags" Target="../tags/tag1397.xml"/><Relationship Id="rId37" Type="http://schemas.openxmlformats.org/officeDocument/2006/relationships/tags" Target="../tags/tag1402.xml"/><Relationship Id="rId53" Type="http://schemas.openxmlformats.org/officeDocument/2006/relationships/tags" Target="../tags/tag1418.xml"/><Relationship Id="rId58" Type="http://schemas.openxmlformats.org/officeDocument/2006/relationships/tags" Target="../tags/tag1423.xml"/><Relationship Id="rId74" Type="http://schemas.openxmlformats.org/officeDocument/2006/relationships/tags" Target="../tags/tag1439.xml"/><Relationship Id="rId79" Type="http://schemas.openxmlformats.org/officeDocument/2006/relationships/tags" Target="../tags/tag1444.xml"/><Relationship Id="rId5" Type="http://schemas.openxmlformats.org/officeDocument/2006/relationships/tags" Target="../tags/tag1370.xml"/><Relationship Id="rId90" Type="http://schemas.openxmlformats.org/officeDocument/2006/relationships/tags" Target="../tags/tag1455.xml"/><Relationship Id="rId95" Type="http://schemas.openxmlformats.org/officeDocument/2006/relationships/slideMaster" Target="../slideMasters/slideMaster13.xml"/><Relationship Id="rId22" Type="http://schemas.openxmlformats.org/officeDocument/2006/relationships/tags" Target="../tags/tag1387.xml"/><Relationship Id="rId27" Type="http://schemas.openxmlformats.org/officeDocument/2006/relationships/tags" Target="../tags/tag1392.xml"/><Relationship Id="rId43" Type="http://schemas.openxmlformats.org/officeDocument/2006/relationships/tags" Target="../tags/tag1408.xml"/><Relationship Id="rId48" Type="http://schemas.openxmlformats.org/officeDocument/2006/relationships/tags" Target="../tags/tag1413.xml"/><Relationship Id="rId64" Type="http://schemas.openxmlformats.org/officeDocument/2006/relationships/tags" Target="../tags/tag1429.xml"/><Relationship Id="rId69" Type="http://schemas.openxmlformats.org/officeDocument/2006/relationships/tags" Target="../tags/tag1434.xml"/><Relationship Id="rId80" Type="http://schemas.openxmlformats.org/officeDocument/2006/relationships/tags" Target="../tags/tag1445.xml"/><Relationship Id="rId85" Type="http://schemas.openxmlformats.org/officeDocument/2006/relationships/tags" Target="../tags/tag1450.xml"/><Relationship Id="rId3" Type="http://schemas.openxmlformats.org/officeDocument/2006/relationships/tags" Target="../tags/tag1368.xml"/><Relationship Id="rId12" Type="http://schemas.openxmlformats.org/officeDocument/2006/relationships/tags" Target="../tags/tag1377.xml"/><Relationship Id="rId17" Type="http://schemas.openxmlformats.org/officeDocument/2006/relationships/tags" Target="../tags/tag1382.xml"/><Relationship Id="rId25" Type="http://schemas.openxmlformats.org/officeDocument/2006/relationships/tags" Target="../tags/tag1390.xml"/><Relationship Id="rId33" Type="http://schemas.openxmlformats.org/officeDocument/2006/relationships/tags" Target="../tags/tag1398.xml"/><Relationship Id="rId38" Type="http://schemas.openxmlformats.org/officeDocument/2006/relationships/tags" Target="../tags/tag1403.xml"/><Relationship Id="rId46" Type="http://schemas.openxmlformats.org/officeDocument/2006/relationships/tags" Target="../tags/tag1411.xml"/><Relationship Id="rId59" Type="http://schemas.openxmlformats.org/officeDocument/2006/relationships/tags" Target="../tags/tag1424.xml"/><Relationship Id="rId67" Type="http://schemas.openxmlformats.org/officeDocument/2006/relationships/tags" Target="../tags/tag1432.xml"/><Relationship Id="rId20" Type="http://schemas.openxmlformats.org/officeDocument/2006/relationships/tags" Target="../tags/tag1385.xml"/><Relationship Id="rId41" Type="http://schemas.openxmlformats.org/officeDocument/2006/relationships/tags" Target="../tags/tag1406.xml"/><Relationship Id="rId54" Type="http://schemas.openxmlformats.org/officeDocument/2006/relationships/tags" Target="../tags/tag1419.xml"/><Relationship Id="rId62" Type="http://schemas.openxmlformats.org/officeDocument/2006/relationships/tags" Target="../tags/tag1427.xml"/><Relationship Id="rId70" Type="http://schemas.openxmlformats.org/officeDocument/2006/relationships/tags" Target="../tags/tag1435.xml"/><Relationship Id="rId75" Type="http://schemas.openxmlformats.org/officeDocument/2006/relationships/tags" Target="../tags/tag1440.xml"/><Relationship Id="rId83" Type="http://schemas.openxmlformats.org/officeDocument/2006/relationships/tags" Target="../tags/tag1448.xml"/><Relationship Id="rId88" Type="http://schemas.openxmlformats.org/officeDocument/2006/relationships/tags" Target="../tags/tag1453.xml"/><Relationship Id="rId91" Type="http://schemas.openxmlformats.org/officeDocument/2006/relationships/tags" Target="../tags/tag1456.xml"/><Relationship Id="rId96" Type="http://schemas.openxmlformats.org/officeDocument/2006/relationships/oleObject" Target="../embeddings/oleObject78.bin"/><Relationship Id="rId1" Type="http://schemas.openxmlformats.org/officeDocument/2006/relationships/vmlDrawing" Target="../drawings/vmlDrawing78.vml"/><Relationship Id="rId6" Type="http://schemas.openxmlformats.org/officeDocument/2006/relationships/tags" Target="../tags/tag1371.xml"/><Relationship Id="rId15" Type="http://schemas.openxmlformats.org/officeDocument/2006/relationships/tags" Target="../tags/tag1380.xml"/><Relationship Id="rId23" Type="http://schemas.openxmlformats.org/officeDocument/2006/relationships/tags" Target="../tags/tag1388.xml"/><Relationship Id="rId28" Type="http://schemas.openxmlformats.org/officeDocument/2006/relationships/tags" Target="../tags/tag1393.xml"/><Relationship Id="rId36" Type="http://schemas.openxmlformats.org/officeDocument/2006/relationships/tags" Target="../tags/tag1401.xml"/><Relationship Id="rId49" Type="http://schemas.openxmlformats.org/officeDocument/2006/relationships/tags" Target="../tags/tag1414.xml"/><Relationship Id="rId57" Type="http://schemas.openxmlformats.org/officeDocument/2006/relationships/tags" Target="../tags/tag1422.xml"/><Relationship Id="rId10" Type="http://schemas.openxmlformats.org/officeDocument/2006/relationships/tags" Target="../tags/tag1375.xml"/><Relationship Id="rId31" Type="http://schemas.openxmlformats.org/officeDocument/2006/relationships/tags" Target="../tags/tag1396.xml"/><Relationship Id="rId44" Type="http://schemas.openxmlformats.org/officeDocument/2006/relationships/tags" Target="../tags/tag1409.xml"/><Relationship Id="rId52" Type="http://schemas.openxmlformats.org/officeDocument/2006/relationships/tags" Target="../tags/tag1417.xml"/><Relationship Id="rId60" Type="http://schemas.openxmlformats.org/officeDocument/2006/relationships/tags" Target="../tags/tag1425.xml"/><Relationship Id="rId65" Type="http://schemas.openxmlformats.org/officeDocument/2006/relationships/tags" Target="../tags/tag1430.xml"/><Relationship Id="rId73" Type="http://schemas.openxmlformats.org/officeDocument/2006/relationships/tags" Target="../tags/tag1438.xml"/><Relationship Id="rId78" Type="http://schemas.openxmlformats.org/officeDocument/2006/relationships/tags" Target="../tags/tag1443.xml"/><Relationship Id="rId81" Type="http://schemas.openxmlformats.org/officeDocument/2006/relationships/tags" Target="../tags/tag1446.xml"/><Relationship Id="rId86" Type="http://schemas.openxmlformats.org/officeDocument/2006/relationships/tags" Target="../tags/tag1451.xml"/><Relationship Id="rId94" Type="http://schemas.openxmlformats.org/officeDocument/2006/relationships/tags" Target="../tags/tag1459.xml"/><Relationship Id="rId4" Type="http://schemas.openxmlformats.org/officeDocument/2006/relationships/tags" Target="../tags/tag1369.xml"/><Relationship Id="rId9" Type="http://schemas.openxmlformats.org/officeDocument/2006/relationships/tags" Target="../tags/tag1374.xml"/><Relationship Id="rId13" Type="http://schemas.openxmlformats.org/officeDocument/2006/relationships/tags" Target="../tags/tag1378.xml"/><Relationship Id="rId18" Type="http://schemas.openxmlformats.org/officeDocument/2006/relationships/tags" Target="../tags/tag1383.xml"/><Relationship Id="rId39" Type="http://schemas.openxmlformats.org/officeDocument/2006/relationships/tags" Target="../tags/tag1404.xml"/><Relationship Id="rId34" Type="http://schemas.openxmlformats.org/officeDocument/2006/relationships/tags" Target="../tags/tag1399.xml"/><Relationship Id="rId50" Type="http://schemas.openxmlformats.org/officeDocument/2006/relationships/tags" Target="../tags/tag1415.xml"/><Relationship Id="rId55" Type="http://schemas.openxmlformats.org/officeDocument/2006/relationships/tags" Target="../tags/tag1420.xml"/><Relationship Id="rId76" Type="http://schemas.openxmlformats.org/officeDocument/2006/relationships/tags" Target="../tags/tag1441.xml"/><Relationship Id="rId97" Type="http://schemas.openxmlformats.org/officeDocument/2006/relationships/image" Target="../media/image12.emf"/><Relationship Id="rId7" Type="http://schemas.openxmlformats.org/officeDocument/2006/relationships/tags" Target="../tags/tag1372.xml"/><Relationship Id="rId71" Type="http://schemas.openxmlformats.org/officeDocument/2006/relationships/tags" Target="../tags/tag1436.xml"/><Relationship Id="rId92" Type="http://schemas.openxmlformats.org/officeDocument/2006/relationships/tags" Target="../tags/tag1457.xml"/><Relationship Id="rId2" Type="http://schemas.openxmlformats.org/officeDocument/2006/relationships/tags" Target="../tags/tag1367.xml"/><Relationship Id="rId29" Type="http://schemas.openxmlformats.org/officeDocument/2006/relationships/tags" Target="../tags/tag1394.xml"/><Relationship Id="rId24" Type="http://schemas.openxmlformats.org/officeDocument/2006/relationships/tags" Target="../tags/tag1389.xml"/><Relationship Id="rId40" Type="http://schemas.openxmlformats.org/officeDocument/2006/relationships/tags" Target="../tags/tag1405.xml"/><Relationship Id="rId45" Type="http://schemas.openxmlformats.org/officeDocument/2006/relationships/tags" Target="../tags/tag1410.xml"/><Relationship Id="rId66" Type="http://schemas.openxmlformats.org/officeDocument/2006/relationships/tags" Target="../tags/tag1431.xml"/><Relationship Id="rId87" Type="http://schemas.openxmlformats.org/officeDocument/2006/relationships/tags" Target="../tags/tag1452.xml"/><Relationship Id="rId61" Type="http://schemas.openxmlformats.org/officeDocument/2006/relationships/tags" Target="../tags/tag1426.xml"/><Relationship Id="rId82" Type="http://schemas.openxmlformats.org/officeDocument/2006/relationships/tags" Target="../tags/tag1447.xml"/><Relationship Id="rId19" Type="http://schemas.openxmlformats.org/officeDocument/2006/relationships/tags" Target="../tags/tag1384.xml"/><Relationship Id="rId14" Type="http://schemas.openxmlformats.org/officeDocument/2006/relationships/tags" Target="../tags/tag1379.xml"/><Relationship Id="rId30" Type="http://schemas.openxmlformats.org/officeDocument/2006/relationships/tags" Target="../tags/tag1395.xml"/><Relationship Id="rId35" Type="http://schemas.openxmlformats.org/officeDocument/2006/relationships/tags" Target="../tags/tag1400.xml"/><Relationship Id="rId56" Type="http://schemas.openxmlformats.org/officeDocument/2006/relationships/tags" Target="../tags/tag1421.xml"/><Relationship Id="rId77" Type="http://schemas.openxmlformats.org/officeDocument/2006/relationships/tags" Target="../tags/tag1442.xml"/><Relationship Id="rId8" Type="http://schemas.openxmlformats.org/officeDocument/2006/relationships/tags" Target="../tags/tag1373.xml"/><Relationship Id="rId51" Type="http://schemas.openxmlformats.org/officeDocument/2006/relationships/tags" Target="../tags/tag1416.xml"/><Relationship Id="rId72" Type="http://schemas.openxmlformats.org/officeDocument/2006/relationships/tags" Target="../tags/tag1437.xml"/><Relationship Id="rId93" Type="http://schemas.openxmlformats.org/officeDocument/2006/relationships/tags" Target="../tags/tag1458.xml"/></Relationships>
</file>

<file path=ppt/slideLayouts/_rels/slideLayout77.xml.rels><?xml version="1.0" encoding="UTF-8" standalone="yes"?>
<Relationships xmlns="http://schemas.openxmlformats.org/package/2006/relationships"><Relationship Id="rId26" Type="http://schemas.openxmlformats.org/officeDocument/2006/relationships/tags" Target="../tags/tag1484.xml"/><Relationship Id="rId21" Type="http://schemas.openxmlformats.org/officeDocument/2006/relationships/tags" Target="../tags/tag1479.xml"/><Relationship Id="rId42" Type="http://schemas.openxmlformats.org/officeDocument/2006/relationships/tags" Target="../tags/tag1500.xml"/><Relationship Id="rId47" Type="http://schemas.openxmlformats.org/officeDocument/2006/relationships/tags" Target="../tags/tag1505.xml"/><Relationship Id="rId63" Type="http://schemas.openxmlformats.org/officeDocument/2006/relationships/tags" Target="../tags/tag1521.xml"/><Relationship Id="rId68" Type="http://schemas.openxmlformats.org/officeDocument/2006/relationships/tags" Target="../tags/tag1526.xml"/><Relationship Id="rId84" Type="http://schemas.openxmlformats.org/officeDocument/2006/relationships/tags" Target="../tags/tag1542.xml"/><Relationship Id="rId89" Type="http://schemas.openxmlformats.org/officeDocument/2006/relationships/tags" Target="../tags/tag1547.xml"/><Relationship Id="rId16" Type="http://schemas.openxmlformats.org/officeDocument/2006/relationships/tags" Target="../tags/tag1474.xml"/><Relationship Id="rId11" Type="http://schemas.openxmlformats.org/officeDocument/2006/relationships/tags" Target="../tags/tag1469.xml"/><Relationship Id="rId32" Type="http://schemas.openxmlformats.org/officeDocument/2006/relationships/tags" Target="../tags/tag1490.xml"/><Relationship Id="rId37" Type="http://schemas.openxmlformats.org/officeDocument/2006/relationships/tags" Target="../tags/tag1495.xml"/><Relationship Id="rId53" Type="http://schemas.openxmlformats.org/officeDocument/2006/relationships/tags" Target="../tags/tag1511.xml"/><Relationship Id="rId58" Type="http://schemas.openxmlformats.org/officeDocument/2006/relationships/tags" Target="../tags/tag1516.xml"/><Relationship Id="rId74" Type="http://schemas.openxmlformats.org/officeDocument/2006/relationships/tags" Target="../tags/tag1532.xml"/><Relationship Id="rId79" Type="http://schemas.openxmlformats.org/officeDocument/2006/relationships/tags" Target="../tags/tag1537.xml"/><Relationship Id="rId5" Type="http://schemas.openxmlformats.org/officeDocument/2006/relationships/tags" Target="../tags/tag1463.xml"/><Relationship Id="rId90" Type="http://schemas.openxmlformats.org/officeDocument/2006/relationships/tags" Target="../tags/tag1548.xml"/><Relationship Id="rId95" Type="http://schemas.openxmlformats.org/officeDocument/2006/relationships/tags" Target="../tags/tag1553.xml"/><Relationship Id="rId22" Type="http://schemas.openxmlformats.org/officeDocument/2006/relationships/tags" Target="../tags/tag1480.xml"/><Relationship Id="rId27" Type="http://schemas.openxmlformats.org/officeDocument/2006/relationships/tags" Target="../tags/tag1485.xml"/><Relationship Id="rId43" Type="http://schemas.openxmlformats.org/officeDocument/2006/relationships/tags" Target="../tags/tag1501.xml"/><Relationship Id="rId48" Type="http://schemas.openxmlformats.org/officeDocument/2006/relationships/tags" Target="../tags/tag1506.xml"/><Relationship Id="rId64" Type="http://schemas.openxmlformats.org/officeDocument/2006/relationships/tags" Target="../tags/tag1522.xml"/><Relationship Id="rId69" Type="http://schemas.openxmlformats.org/officeDocument/2006/relationships/tags" Target="../tags/tag1527.xml"/><Relationship Id="rId80" Type="http://schemas.openxmlformats.org/officeDocument/2006/relationships/tags" Target="../tags/tag1538.xml"/><Relationship Id="rId85" Type="http://schemas.openxmlformats.org/officeDocument/2006/relationships/tags" Target="../tags/tag1543.xml"/><Relationship Id="rId3" Type="http://schemas.openxmlformats.org/officeDocument/2006/relationships/tags" Target="../tags/tag1461.xml"/><Relationship Id="rId12" Type="http://schemas.openxmlformats.org/officeDocument/2006/relationships/tags" Target="../tags/tag1470.xml"/><Relationship Id="rId17" Type="http://schemas.openxmlformats.org/officeDocument/2006/relationships/tags" Target="../tags/tag1475.xml"/><Relationship Id="rId25" Type="http://schemas.openxmlformats.org/officeDocument/2006/relationships/tags" Target="../tags/tag1483.xml"/><Relationship Id="rId33" Type="http://schemas.openxmlformats.org/officeDocument/2006/relationships/tags" Target="../tags/tag1491.xml"/><Relationship Id="rId38" Type="http://schemas.openxmlformats.org/officeDocument/2006/relationships/tags" Target="../tags/tag1496.xml"/><Relationship Id="rId46" Type="http://schemas.openxmlformats.org/officeDocument/2006/relationships/tags" Target="../tags/tag1504.xml"/><Relationship Id="rId59" Type="http://schemas.openxmlformats.org/officeDocument/2006/relationships/tags" Target="../tags/tag1517.xml"/><Relationship Id="rId67" Type="http://schemas.openxmlformats.org/officeDocument/2006/relationships/tags" Target="../tags/tag1525.xml"/><Relationship Id="rId20" Type="http://schemas.openxmlformats.org/officeDocument/2006/relationships/tags" Target="../tags/tag1478.xml"/><Relationship Id="rId41" Type="http://schemas.openxmlformats.org/officeDocument/2006/relationships/tags" Target="../tags/tag1499.xml"/><Relationship Id="rId54" Type="http://schemas.openxmlformats.org/officeDocument/2006/relationships/tags" Target="../tags/tag1512.xml"/><Relationship Id="rId62" Type="http://schemas.openxmlformats.org/officeDocument/2006/relationships/tags" Target="../tags/tag1520.xml"/><Relationship Id="rId70" Type="http://schemas.openxmlformats.org/officeDocument/2006/relationships/tags" Target="../tags/tag1528.xml"/><Relationship Id="rId75" Type="http://schemas.openxmlformats.org/officeDocument/2006/relationships/tags" Target="../tags/tag1533.xml"/><Relationship Id="rId83" Type="http://schemas.openxmlformats.org/officeDocument/2006/relationships/tags" Target="../tags/tag1541.xml"/><Relationship Id="rId88" Type="http://schemas.openxmlformats.org/officeDocument/2006/relationships/tags" Target="../tags/tag1546.xml"/><Relationship Id="rId91" Type="http://schemas.openxmlformats.org/officeDocument/2006/relationships/tags" Target="../tags/tag1549.xml"/><Relationship Id="rId96" Type="http://schemas.openxmlformats.org/officeDocument/2006/relationships/slideMaster" Target="../slideMasters/slideMaster13.xml"/><Relationship Id="rId1" Type="http://schemas.openxmlformats.org/officeDocument/2006/relationships/vmlDrawing" Target="../drawings/vmlDrawing79.vml"/><Relationship Id="rId6" Type="http://schemas.openxmlformats.org/officeDocument/2006/relationships/tags" Target="../tags/tag1464.xml"/><Relationship Id="rId15" Type="http://schemas.openxmlformats.org/officeDocument/2006/relationships/tags" Target="../tags/tag1473.xml"/><Relationship Id="rId23" Type="http://schemas.openxmlformats.org/officeDocument/2006/relationships/tags" Target="../tags/tag1481.xml"/><Relationship Id="rId28" Type="http://schemas.openxmlformats.org/officeDocument/2006/relationships/tags" Target="../tags/tag1486.xml"/><Relationship Id="rId36" Type="http://schemas.openxmlformats.org/officeDocument/2006/relationships/tags" Target="../tags/tag1494.xml"/><Relationship Id="rId49" Type="http://schemas.openxmlformats.org/officeDocument/2006/relationships/tags" Target="../tags/tag1507.xml"/><Relationship Id="rId57" Type="http://schemas.openxmlformats.org/officeDocument/2006/relationships/tags" Target="../tags/tag1515.xml"/><Relationship Id="rId10" Type="http://schemas.openxmlformats.org/officeDocument/2006/relationships/tags" Target="../tags/tag1468.xml"/><Relationship Id="rId31" Type="http://schemas.openxmlformats.org/officeDocument/2006/relationships/tags" Target="../tags/tag1489.xml"/><Relationship Id="rId44" Type="http://schemas.openxmlformats.org/officeDocument/2006/relationships/tags" Target="../tags/tag1502.xml"/><Relationship Id="rId52" Type="http://schemas.openxmlformats.org/officeDocument/2006/relationships/tags" Target="../tags/tag1510.xml"/><Relationship Id="rId60" Type="http://schemas.openxmlformats.org/officeDocument/2006/relationships/tags" Target="../tags/tag1518.xml"/><Relationship Id="rId65" Type="http://schemas.openxmlformats.org/officeDocument/2006/relationships/tags" Target="../tags/tag1523.xml"/><Relationship Id="rId73" Type="http://schemas.openxmlformats.org/officeDocument/2006/relationships/tags" Target="../tags/tag1531.xml"/><Relationship Id="rId78" Type="http://schemas.openxmlformats.org/officeDocument/2006/relationships/tags" Target="../tags/tag1536.xml"/><Relationship Id="rId81" Type="http://schemas.openxmlformats.org/officeDocument/2006/relationships/tags" Target="../tags/tag1539.xml"/><Relationship Id="rId86" Type="http://schemas.openxmlformats.org/officeDocument/2006/relationships/tags" Target="../tags/tag1544.xml"/><Relationship Id="rId94" Type="http://schemas.openxmlformats.org/officeDocument/2006/relationships/tags" Target="../tags/tag1552.xml"/><Relationship Id="rId4" Type="http://schemas.openxmlformats.org/officeDocument/2006/relationships/tags" Target="../tags/tag1462.xml"/><Relationship Id="rId9" Type="http://schemas.openxmlformats.org/officeDocument/2006/relationships/tags" Target="../tags/tag1467.xml"/><Relationship Id="rId13" Type="http://schemas.openxmlformats.org/officeDocument/2006/relationships/tags" Target="../tags/tag1471.xml"/><Relationship Id="rId18" Type="http://schemas.openxmlformats.org/officeDocument/2006/relationships/tags" Target="../tags/tag1476.xml"/><Relationship Id="rId39" Type="http://schemas.openxmlformats.org/officeDocument/2006/relationships/tags" Target="../tags/tag1497.xml"/><Relationship Id="rId34" Type="http://schemas.openxmlformats.org/officeDocument/2006/relationships/tags" Target="../tags/tag1492.xml"/><Relationship Id="rId50" Type="http://schemas.openxmlformats.org/officeDocument/2006/relationships/tags" Target="../tags/tag1508.xml"/><Relationship Id="rId55" Type="http://schemas.openxmlformats.org/officeDocument/2006/relationships/tags" Target="../tags/tag1513.xml"/><Relationship Id="rId76" Type="http://schemas.openxmlformats.org/officeDocument/2006/relationships/tags" Target="../tags/tag1534.xml"/><Relationship Id="rId97" Type="http://schemas.openxmlformats.org/officeDocument/2006/relationships/oleObject" Target="../embeddings/oleObject79.bin"/><Relationship Id="rId7" Type="http://schemas.openxmlformats.org/officeDocument/2006/relationships/tags" Target="../tags/tag1465.xml"/><Relationship Id="rId71" Type="http://schemas.openxmlformats.org/officeDocument/2006/relationships/tags" Target="../tags/tag1529.xml"/><Relationship Id="rId92" Type="http://schemas.openxmlformats.org/officeDocument/2006/relationships/tags" Target="../tags/tag1550.xml"/><Relationship Id="rId2" Type="http://schemas.openxmlformats.org/officeDocument/2006/relationships/tags" Target="../tags/tag1460.xml"/><Relationship Id="rId29" Type="http://schemas.openxmlformats.org/officeDocument/2006/relationships/tags" Target="../tags/tag1487.xml"/><Relationship Id="rId24" Type="http://schemas.openxmlformats.org/officeDocument/2006/relationships/tags" Target="../tags/tag1482.xml"/><Relationship Id="rId40" Type="http://schemas.openxmlformats.org/officeDocument/2006/relationships/tags" Target="../tags/tag1498.xml"/><Relationship Id="rId45" Type="http://schemas.openxmlformats.org/officeDocument/2006/relationships/tags" Target="../tags/tag1503.xml"/><Relationship Id="rId66" Type="http://schemas.openxmlformats.org/officeDocument/2006/relationships/tags" Target="../tags/tag1524.xml"/><Relationship Id="rId87" Type="http://schemas.openxmlformats.org/officeDocument/2006/relationships/tags" Target="../tags/tag1545.xml"/><Relationship Id="rId61" Type="http://schemas.openxmlformats.org/officeDocument/2006/relationships/tags" Target="../tags/tag1519.xml"/><Relationship Id="rId82" Type="http://schemas.openxmlformats.org/officeDocument/2006/relationships/tags" Target="../tags/tag1540.xml"/><Relationship Id="rId19" Type="http://schemas.openxmlformats.org/officeDocument/2006/relationships/tags" Target="../tags/tag1477.xml"/><Relationship Id="rId14" Type="http://schemas.openxmlformats.org/officeDocument/2006/relationships/tags" Target="../tags/tag1472.xml"/><Relationship Id="rId30" Type="http://schemas.openxmlformats.org/officeDocument/2006/relationships/tags" Target="../tags/tag1488.xml"/><Relationship Id="rId35" Type="http://schemas.openxmlformats.org/officeDocument/2006/relationships/tags" Target="../tags/tag1493.xml"/><Relationship Id="rId56" Type="http://schemas.openxmlformats.org/officeDocument/2006/relationships/tags" Target="../tags/tag1514.xml"/><Relationship Id="rId77" Type="http://schemas.openxmlformats.org/officeDocument/2006/relationships/tags" Target="../tags/tag1535.xml"/><Relationship Id="rId8" Type="http://schemas.openxmlformats.org/officeDocument/2006/relationships/tags" Target="../tags/tag1466.xml"/><Relationship Id="rId51" Type="http://schemas.openxmlformats.org/officeDocument/2006/relationships/tags" Target="../tags/tag1509.xml"/><Relationship Id="rId72" Type="http://schemas.openxmlformats.org/officeDocument/2006/relationships/tags" Target="../tags/tag1530.xml"/><Relationship Id="rId93" Type="http://schemas.openxmlformats.org/officeDocument/2006/relationships/tags" Target="../tags/tag1551.xml"/><Relationship Id="rId98" Type="http://schemas.openxmlformats.org/officeDocument/2006/relationships/image" Target="../media/image12.emf"/></Relationships>
</file>

<file path=ppt/slideLayouts/_rels/slideLayout78.xml.rels><?xml version="1.0" encoding="UTF-8" standalone="yes"?>
<Relationships xmlns="http://schemas.openxmlformats.org/package/2006/relationships"><Relationship Id="rId26" Type="http://schemas.openxmlformats.org/officeDocument/2006/relationships/tags" Target="../tags/tag1578.xml"/><Relationship Id="rId21" Type="http://schemas.openxmlformats.org/officeDocument/2006/relationships/tags" Target="../tags/tag1573.xml"/><Relationship Id="rId42" Type="http://schemas.openxmlformats.org/officeDocument/2006/relationships/tags" Target="../tags/tag1594.xml"/><Relationship Id="rId47" Type="http://schemas.openxmlformats.org/officeDocument/2006/relationships/tags" Target="../tags/tag1599.xml"/><Relationship Id="rId63" Type="http://schemas.openxmlformats.org/officeDocument/2006/relationships/tags" Target="../tags/tag1615.xml"/><Relationship Id="rId68" Type="http://schemas.openxmlformats.org/officeDocument/2006/relationships/tags" Target="../tags/tag1620.xml"/><Relationship Id="rId84" Type="http://schemas.openxmlformats.org/officeDocument/2006/relationships/tags" Target="../tags/tag1636.xml"/><Relationship Id="rId89" Type="http://schemas.openxmlformats.org/officeDocument/2006/relationships/tags" Target="../tags/tag1641.xml"/><Relationship Id="rId16" Type="http://schemas.openxmlformats.org/officeDocument/2006/relationships/tags" Target="../tags/tag1568.xml"/><Relationship Id="rId11" Type="http://schemas.openxmlformats.org/officeDocument/2006/relationships/tags" Target="../tags/tag1563.xml"/><Relationship Id="rId32" Type="http://schemas.openxmlformats.org/officeDocument/2006/relationships/tags" Target="../tags/tag1584.xml"/><Relationship Id="rId37" Type="http://schemas.openxmlformats.org/officeDocument/2006/relationships/tags" Target="../tags/tag1589.xml"/><Relationship Id="rId53" Type="http://schemas.openxmlformats.org/officeDocument/2006/relationships/tags" Target="../tags/tag1605.xml"/><Relationship Id="rId58" Type="http://schemas.openxmlformats.org/officeDocument/2006/relationships/tags" Target="../tags/tag1610.xml"/><Relationship Id="rId74" Type="http://schemas.openxmlformats.org/officeDocument/2006/relationships/tags" Target="../tags/tag1626.xml"/><Relationship Id="rId79" Type="http://schemas.openxmlformats.org/officeDocument/2006/relationships/tags" Target="../tags/tag1631.xml"/><Relationship Id="rId5" Type="http://schemas.openxmlformats.org/officeDocument/2006/relationships/tags" Target="../tags/tag1557.xml"/><Relationship Id="rId90" Type="http://schemas.openxmlformats.org/officeDocument/2006/relationships/tags" Target="../tags/tag1642.xml"/><Relationship Id="rId95" Type="http://schemas.openxmlformats.org/officeDocument/2006/relationships/slideMaster" Target="../slideMasters/slideMaster13.xml"/><Relationship Id="rId22" Type="http://schemas.openxmlformats.org/officeDocument/2006/relationships/tags" Target="../tags/tag1574.xml"/><Relationship Id="rId27" Type="http://schemas.openxmlformats.org/officeDocument/2006/relationships/tags" Target="../tags/tag1579.xml"/><Relationship Id="rId43" Type="http://schemas.openxmlformats.org/officeDocument/2006/relationships/tags" Target="../tags/tag1595.xml"/><Relationship Id="rId48" Type="http://schemas.openxmlformats.org/officeDocument/2006/relationships/tags" Target="../tags/tag1600.xml"/><Relationship Id="rId64" Type="http://schemas.openxmlformats.org/officeDocument/2006/relationships/tags" Target="../tags/tag1616.xml"/><Relationship Id="rId69" Type="http://schemas.openxmlformats.org/officeDocument/2006/relationships/tags" Target="../tags/tag1621.xml"/><Relationship Id="rId80" Type="http://schemas.openxmlformats.org/officeDocument/2006/relationships/tags" Target="../tags/tag1632.xml"/><Relationship Id="rId85" Type="http://schemas.openxmlformats.org/officeDocument/2006/relationships/tags" Target="../tags/tag1637.xml"/><Relationship Id="rId3" Type="http://schemas.openxmlformats.org/officeDocument/2006/relationships/tags" Target="../tags/tag1555.xml"/><Relationship Id="rId12" Type="http://schemas.openxmlformats.org/officeDocument/2006/relationships/tags" Target="../tags/tag1564.xml"/><Relationship Id="rId17" Type="http://schemas.openxmlformats.org/officeDocument/2006/relationships/tags" Target="../tags/tag1569.xml"/><Relationship Id="rId25" Type="http://schemas.openxmlformats.org/officeDocument/2006/relationships/tags" Target="../tags/tag1577.xml"/><Relationship Id="rId33" Type="http://schemas.openxmlformats.org/officeDocument/2006/relationships/tags" Target="../tags/tag1585.xml"/><Relationship Id="rId38" Type="http://schemas.openxmlformats.org/officeDocument/2006/relationships/tags" Target="../tags/tag1590.xml"/><Relationship Id="rId46" Type="http://schemas.openxmlformats.org/officeDocument/2006/relationships/tags" Target="../tags/tag1598.xml"/><Relationship Id="rId59" Type="http://schemas.openxmlformats.org/officeDocument/2006/relationships/tags" Target="../tags/tag1611.xml"/><Relationship Id="rId67" Type="http://schemas.openxmlformats.org/officeDocument/2006/relationships/tags" Target="../tags/tag1619.xml"/><Relationship Id="rId20" Type="http://schemas.openxmlformats.org/officeDocument/2006/relationships/tags" Target="../tags/tag1572.xml"/><Relationship Id="rId41" Type="http://schemas.openxmlformats.org/officeDocument/2006/relationships/tags" Target="../tags/tag1593.xml"/><Relationship Id="rId54" Type="http://schemas.openxmlformats.org/officeDocument/2006/relationships/tags" Target="../tags/tag1606.xml"/><Relationship Id="rId62" Type="http://schemas.openxmlformats.org/officeDocument/2006/relationships/tags" Target="../tags/tag1614.xml"/><Relationship Id="rId70" Type="http://schemas.openxmlformats.org/officeDocument/2006/relationships/tags" Target="../tags/tag1622.xml"/><Relationship Id="rId75" Type="http://schemas.openxmlformats.org/officeDocument/2006/relationships/tags" Target="../tags/tag1627.xml"/><Relationship Id="rId83" Type="http://schemas.openxmlformats.org/officeDocument/2006/relationships/tags" Target="../tags/tag1635.xml"/><Relationship Id="rId88" Type="http://schemas.openxmlformats.org/officeDocument/2006/relationships/tags" Target="../tags/tag1640.xml"/><Relationship Id="rId91" Type="http://schemas.openxmlformats.org/officeDocument/2006/relationships/tags" Target="../tags/tag1643.xml"/><Relationship Id="rId96" Type="http://schemas.openxmlformats.org/officeDocument/2006/relationships/oleObject" Target="../embeddings/oleObject80.bin"/><Relationship Id="rId1" Type="http://schemas.openxmlformats.org/officeDocument/2006/relationships/vmlDrawing" Target="../drawings/vmlDrawing80.vml"/><Relationship Id="rId6" Type="http://schemas.openxmlformats.org/officeDocument/2006/relationships/tags" Target="../tags/tag1558.xml"/><Relationship Id="rId15" Type="http://schemas.openxmlformats.org/officeDocument/2006/relationships/tags" Target="../tags/tag1567.xml"/><Relationship Id="rId23" Type="http://schemas.openxmlformats.org/officeDocument/2006/relationships/tags" Target="../tags/tag1575.xml"/><Relationship Id="rId28" Type="http://schemas.openxmlformats.org/officeDocument/2006/relationships/tags" Target="../tags/tag1580.xml"/><Relationship Id="rId36" Type="http://schemas.openxmlformats.org/officeDocument/2006/relationships/tags" Target="../tags/tag1588.xml"/><Relationship Id="rId49" Type="http://schemas.openxmlformats.org/officeDocument/2006/relationships/tags" Target="../tags/tag1601.xml"/><Relationship Id="rId57" Type="http://schemas.openxmlformats.org/officeDocument/2006/relationships/tags" Target="../tags/tag1609.xml"/><Relationship Id="rId10" Type="http://schemas.openxmlformats.org/officeDocument/2006/relationships/tags" Target="../tags/tag1562.xml"/><Relationship Id="rId31" Type="http://schemas.openxmlformats.org/officeDocument/2006/relationships/tags" Target="../tags/tag1583.xml"/><Relationship Id="rId44" Type="http://schemas.openxmlformats.org/officeDocument/2006/relationships/tags" Target="../tags/tag1596.xml"/><Relationship Id="rId52" Type="http://schemas.openxmlformats.org/officeDocument/2006/relationships/tags" Target="../tags/tag1604.xml"/><Relationship Id="rId60" Type="http://schemas.openxmlformats.org/officeDocument/2006/relationships/tags" Target="../tags/tag1612.xml"/><Relationship Id="rId65" Type="http://schemas.openxmlformats.org/officeDocument/2006/relationships/tags" Target="../tags/tag1617.xml"/><Relationship Id="rId73" Type="http://schemas.openxmlformats.org/officeDocument/2006/relationships/tags" Target="../tags/tag1625.xml"/><Relationship Id="rId78" Type="http://schemas.openxmlformats.org/officeDocument/2006/relationships/tags" Target="../tags/tag1630.xml"/><Relationship Id="rId81" Type="http://schemas.openxmlformats.org/officeDocument/2006/relationships/tags" Target="../tags/tag1633.xml"/><Relationship Id="rId86" Type="http://schemas.openxmlformats.org/officeDocument/2006/relationships/tags" Target="../tags/tag1638.xml"/><Relationship Id="rId94" Type="http://schemas.openxmlformats.org/officeDocument/2006/relationships/tags" Target="../tags/tag1646.xml"/><Relationship Id="rId4" Type="http://schemas.openxmlformats.org/officeDocument/2006/relationships/tags" Target="../tags/tag1556.xml"/><Relationship Id="rId9" Type="http://schemas.openxmlformats.org/officeDocument/2006/relationships/tags" Target="../tags/tag1561.xml"/><Relationship Id="rId13" Type="http://schemas.openxmlformats.org/officeDocument/2006/relationships/tags" Target="../tags/tag1565.xml"/><Relationship Id="rId18" Type="http://schemas.openxmlformats.org/officeDocument/2006/relationships/tags" Target="../tags/tag1570.xml"/><Relationship Id="rId39" Type="http://schemas.openxmlformats.org/officeDocument/2006/relationships/tags" Target="../tags/tag1591.xml"/><Relationship Id="rId34" Type="http://schemas.openxmlformats.org/officeDocument/2006/relationships/tags" Target="../tags/tag1586.xml"/><Relationship Id="rId50" Type="http://schemas.openxmlformats.org/officeDocument/2006/relationships/tags" Target="../tags/tag1602.xml"/><Relationship Id="rId55" Type="http://schemas.openxmlformats.org/officeDocument/2006/relationships/tags" Target="../tags/tag1607.xml"/><Relationship Id="rId76" Type="http://schemas.openxmlformats.org/officeDocument/2006/relationships/tags" Target="../tags/tag1628.xml"/><Relationship Id="rId97" Type="http://schemas.openxmlformats.org/officeDocument/2006/relationships/image" Target="../media/image12.emf"/><Relationship Id="rId7" Type="http://schemas.openxmlformats.org/officeDocument/2006/relationships/tags" Target="../tags/tag1559.xml"/><Relationship Id="rId71" Type="http://schemas.openxmlformats.org/officeDocument/2006/relationships/tags" Target="../tags/tag1623.xml"/><Relationship Id="rId92" Type="http://schemas.openxmlformats.org/officeDocument/2006/relationships/tags" Target="../tags/tag1644.xml"/><Relationship Id="rId2" Type="http://schemas.openxmlformats.org/officeDocument/2006/relationships/tags" Target="../tags/tag1554.xml"/><Relationship Id="rId29" Type="http://schemas.openxmlformats.org/officeDocument/2006/relationships/tags" Target="../tags/tag1581.xml"/><Relationship Id="rId24" Type="http://schemas.openxmlformats.org/officeDocument/2006/relationships/tags" Target="../tags/tag1576.xml"/><Relationship Id="rId40" Type="http://schemas.openxmlformats.org/officeDocument/2006/relationships/tags" Target="../tags/tag1592.xml"/><Relationship Id="rId45" Type="http://schemas.openxmlformats.org/officeDocument/2006/relationships/tags" Target="../tags/tag1597.xml"/><Relationship Id="rId66" Type="http://schemas.openxmlformats.org/officeDocument/2006/relationships/tags" Target="../tags/tag1618.xml"/><Relationship Id="rId87" Type="http://schemas.openxmlformats.org/officeDocument/2006/relationships/tags" Target="../tags/tag1639.xml"/><Relationship Id="rId61" Type="http://schemas.openxmlformats.org/officeDocument/2006/relationships/tags" Target="../tags/tag1613.xml"/><Relationship Id="rId82" Type="http://schemas.openxmlformats.org/officeDocument/2006/relationships/tags" Target="../tags/tag1634.xml"/><Relationship Id="rId19" Type="http://schemas.openxmlformats.org/officeDocument/2006/relationships/tags" Target="../tags/tag1571.xml"/><Relationship Id="rId14" Type="http://schemas.openxmlformats.org/officeDocument/2006/relationships/tags" Target="../tags/tag1566.xml"/><Relationship Id="rId30" Type="http://schemas.openxmlformats.org/officeDocument/2006/relationships/tags" Target="../tags/tag1582.xml"/><Relationship Id="rId35" Type="http://schemas.openxmlformats.org/officeDocument/2006/relationships/tags" Target="../tags/tag1587.xml"/><Relationship Id="rId56" Type="http://schemas.openxmlformats.org/officeDocument/2006/relationships/tags" Target="../tags/tag1608.xml"/><Relationship Id="rId77" Type="http://schemas.openxmlformats.org/officeDocument/2006/relationships/tags" Target="../tags/tag1629.xml"/><Relationship Id="rId8" Type="http://schemas.openxmlformats.org/officeDocument/2006/relationships/tags" Target="../tags/tag1560.xml"/><Relationship Id="rId51" Type="http://schemas.openxmlformats.org/officeDocument/2006/relationships/tags" Target="../tags/tag1603.xml"/><Relationship Id="rId72" Type="http://schemas.openxmlformats.org/officeDocument/2006/relationships/tags" Target="../tags/tag1624.xml"/><Relationship Id="rId93" Type="http://schemas.openxmlformats.org/officeDocument/2006/relationships/tags" Target="../tags/tag1645.xml"/></Relationships>
</file>

<file path=ppt/slideLayouts/_rels/slideLayout79.xml.rels><?xml version="1.0" encoding="UTF-8" standalone="yes"?>
<Relationships xmlns="http://schemas.openxmlformats.org/package/2006/relationships"><Relationship Id="rId26" Type="http://schemas.openxmlformats.org/officeDocument/2006/relationships/tags" Target="../tags/tag1671.xml"/><Relationship Id="rId21" Type="http://schemas.openxmlformats.org/officeDocument/2006/relationships/tags" Target="../tags/tag1666.xml"/><Relationship Id="rId42" Type="http://schemas.openxmlformats.org/officeDocument/2006/relationships/tags" Target="../tags/tag1687.xml"/><Relationship Id="rId47" Type="http://schemas.openxmlformats.org/officeDocument/2006/relationships/tags" Target="../tags/tag1692.xml"/><Relationship Id="rId63" Type="http://schemas.openxmlformats.org/officeDocument/2006/relationships/tags" Target="../tags/tag1708.xml"/><Relationship Id="rId68" Type="http://schemas.openxmlformats.org/officeDocument/2006/relationships/tags" Target="../tags/tag1713.xml"/><Relationship Id="rId84" Type="http://schemas.openxmlformats.org/officeDocument/2006/relationships/tags" Target="../tags/tag1729.xml"/><Relationship Id="rId89" Type="http://schemas.openxmlformats.org/officeDocument/2006/relationships/tags" Target="../tags/tag1734.xml"/><Relationship Id="rId16" Type="http://schemas.openxmlformats.org/officeDocument/2006/relationships/tags" Target="../tags/tag1661.xml"/><Relationship Id="rId11" Type="http://schemas.openxmlformats.org/officeDocument/2006/relationships/tags" Target="../tags/tag1656.xml"/><Relationship Id="rId32" Type="http://schemas.openxmlformats.org/officeDocument/2006/relationships/tags" Target="../tags/tag1677.xml"/><Relationship Id="rId37" Type="http://schemas.openxmlformats.org/officeDocument/2006/relationships/tags" Target="../tags/tag1682.xml"/><Relationship Id="rId53" Type="http://schemas.openxmlformats.org/officeDocument/2006/relationships/tags" Target="../tags/tag1698.xml"/><Relationship Id="rId58" Type="http://schemas.openxmlformats.org/officeDocument/2006/relationships/tags" Target="../tags/tag1703.xml"/><Relationship Id="rId74" Type="http://schemas.openxmlformats.org/officeDocument/2006/relationships/tags" Target="../tags/tag1719.xml"/><Relationship Id="rId79" Type="http://schemas.openxmlformats.org/officeDocument/2006/relationships/tags" Target="../tags/tag1724.xml"/><Relationship Id="rId5" Type="http://schemas.openxmlformats.org/officeDocument/2006/relationships/tags" Target="../tags/tag1650.xml"/><Relationship Id="rId90" Type="http://schemas.openxmlformats.org/officeDocument/2006/relationships/tags" Target="../tags/tag1735.xml"/><Relationship Id="rId95" Type="http://schemas.openxmlformats.org/officeDocument/2006/relationships/tags" Target="../tags/tag1740.xml"/><Relationship Id="rId22" Type="http://schemas.openxmlformats.org/officeDocument/2006/relationships/tags" Target="../tags/tag1667.xml"/><Relationship Id="rId27" Type="http://schemas.openxmlformats.org/officeDocument/2006/relationships/tags" Target="../tags/tag1672.xml"/><Relationship Id="rId43" Type="http://schemas.openxmlformats.org/officeDocument/2006/relationships/tags" Target="../tags/tag1688.xml"/><Relationship Id="rId48" Type="http://schemas.openxmlformats.org/officeDocument/2006/relationships/tags" Target="../tags/tag1693.xml"/><Relationship Id="rId64" Type="http://schemas.openxmlformats.org/officeDocument/2006/relationships/tags" Target="../tags/tag1709.xml"/><Relationship Id="rId69" Type="http://schemas.openxmlformats.org/officeDocument/2006/relationships/tags" Target="../tags/tag1714.xml"/><Relationship Id="rId80" Type="http://schemas.openxmlformats.org/officeDocument/2006/relationships/tags" Target="../tags/tag1725.xml"/><Relationship Id="rId85" Type="http://schemas.openxmlformats.org/officeDocument/2006/relationships/tags" Target="../tags/tag1730.xml"/><Relationship Id="rId3" Type="http://schemas.openxmlformats.org/officeDocument/2006/relationships/tags" Target="../tags/tag1648.xml"/><Relationship Id="rId12" Type="http://schemas.openxmlformats.org/officeDocument/2006/relationships/tags" Target="../tags/tag1657.xml"/><Relationship Id="rId17" Type="http://schemas.openxmlformats.org/officeDocument/2006/relationships/tags" Target="../tags/tag1662.xml"/><Relationship Id="rId25" Type="http://schemas.openxmlformats.org/officeDocument/2006/relationships/tags" Target="../tags/tag1670.xml"/><Relationship Id="rId33" Type="http://schemas.openxmlformats.org/officeDocument/2006/relationships/tags" Target="../tags/tag1678.xml"/><Relationship Id="rId38" Type="http://schemas.openxmlformats.org/officeDocument/2006/relationships/tags" Target="../tags/tag1683.xml"/><Relationship Id="rId46" Type="http://schemas.openxmlformats.org/officeDocument/2006/relationships/tags" Target="../tags/tag1691.xml"/><Relationship Id="rId59" Type="http://schemas.openxmlformats.org/officeDocument/2006/relationships/tags" Target="../tags/tag1704.xml"/><Relationship Id="rId67" Type="http://schemas.openxmlformats.org/officeDocument/2006/relationships/tags" Target="../tags/tag1712.xml"/><Relationship Id="rId20" Type="http://schemas.openxmlformats.org/officeDocument/2006/relationships/tags" Target="../tags/tag1665.xml"/><Relationship Id="rId41" Type="http://schemas.openxmlformats.org/officeDocument/2006/relationships/tags" Target="../tags/tag1686.xml"/><Relationship Id="rId54" Type="http://schemas.openxmlformats.org/officeDocument/2006/relationships/tags" Target="../tags/tag1699.xml"/><Relationship Id="rId62" Type="http://schemas.openxmlformats.org/officeDocument/2006/relationships/tags" Target="../tags/tag1707.xml"/><Relationship Id="rId70" Type="http://schemas.openxmlformats.org/officeDocument/2006/relationships/tags" Target="../tags/tag1715.xml"/><Relationship Id="rId75" Type="http://schemas.openxmlformats.org/officeDocument/2006/relationships/tags" Target="../tags/tag1720.xml"/><Relationship Id="rId83" Type="http://schemas.openxmlformats.org/officeDocument/2006/relationships/tags" Target="../tags/tag1728.xml"/><Relationship Id="rId88" Type="http://schemas.openxmlformats.org/officeDocument/2006/relationships/tags" Target="../tags/tag1733.xml"/><Relationship Id="rId91" Type="http://schemas.openxmlformats.org/officeDocument/2006/relationships/tags" Target="../tags/tag1736.xml"/><Relationship Id="rId96" Type="http://schemas.openxmlformats.org/officeDocument/2006/relationships/tags" Target="../tags/tag1741.xml"/><Relationship Id="rId1" Type="http://schemas.openxmlformats.org/officeDocument/2006/relationships/vmlDrawing" Target="../drawings/vmlDrawing81.vml"/><Relationship Id="rId6" Type="http://schemas.openxmlformats.org/officeDocument/2006/relationships/tags" Target="../tags/tag1651.xml"/><Relationship Id="rId15" Type="http://schemas.openxmlformats.org/officeDocument/2006/relationships/tags" Target="../tags/tag1660.xml"/><Relationship Id="rId23" Type="http://schemas.openxmlformats.org/officeDocument/2006/relationships/tags" Target="../tags/tag1668.xml"/><Relationship Id="rId28" Type="http://schemas.openxmlformats.org/officeDocument/2006/relationships/tags" Target="../tags/tag1673.xml"/><Relationship Id="rId36" Type="http://schemas.openxmlformats.org/officeDocument/2006/relationships/tags" Target="../tags/tag1681.xml"/><Relationship Id="rId49" Type="http://schemas.openxmlformats.org/officeDocument/2006/relationships/tags" Target="../tags/tag1694.xml"/><Relationship Id="rId57" Type="http://schemas.openxmlformats.org/officeDocument/2006/relationships/tags" Target="../tags/tag1702.xml"/><Relationship Id="rId10" Type="http://schemas.openxmlformats.org/officeDocument/2006/relationships/tags" Target="../tags/tag1655.xml"/><Relationship Id="rId31" Type="http://schemas.openxmlformats.org/officeDocument/2006/relationships/tags" Target="../tags/tag1676.xml"/><Relationship Id="rId44" Type="http://schemas.openxmlformats.org/officeDocument/2006/relationships/tags" Target="../tags/tag1689.xml"/><Relationship Id="rId52" Type="http://schemas.openxmlformats.org/officeDocument/2006/relationships/tags" Target="../tags/tag1697.xml"/><Relationship Id="rId60" Type="http://schemas.openxmlformats.org/officeDocument/2006/relationships/tags" Target="../tags/tag1705.xml"/><Relationship Id="rId65" Type="http://schemas.openxmlformats.org/officeDocument/2006/relationships/tags" Target="../tags/tag1710.xml"/><Relationship Id="rId73" Type="http://schemas.openxmlformats.org/officeDocument/2006/relationships/tags" Target="../tags/tag1718.xml"/><Relationship Id="rId78" Type="http://schemas.openxmlformats.org/officeDocument/2006/relationships/tags" Target="../tags/tag1723.xml"/><Relationship Id="rId81" Type="http://schemas.openxmlformats.org/officeDocument/2006/relationships/tags" Target="../tags/tag1726.xml"/><Relationship Id="rId86" Type="http://schemas.openxmlformats.org/officeDocument/2006/relationships/tags" Target="../tags/tag1731.xml"/><Relationship Id="rId94" Type="http://schemas.openxmlformats.org/officeDocument/2006/relationships/tags" Target="../tags/tag1739.xml"/><Relationship Id="rId99" Type="http://schemas.openxmlformats.org/officeDocument/2006/relationships/oleObject" Target="../embeddings/oleObject81.bin"/><Relationship Id="rId4" Type="http://schemas.openxmlformats.org/officeDocument/2006/relationships/tags" Target="../tags/tag1649.xml"/><Relationship Id="rId9" Type="http://schemas.openxmlformats.org/officeDocument/2006/relationships/tags" Target="../tags/tag1654.xml"/><Relationship Id="rId13" Type="http://schemas.openxmlformats.org/officeDocument/2006/relationships/tags" Target="../tags/tag1658.xml"/><Relationship Id="rId18" Type="http://schemas.openxmlformats.org/officeDocument/2006/relationships/tags" Target="../tags/tag1663.xml"/><Relationship Id="rId39" Type="http://schemas.openxmlformats.org/officeDocument/2006/relationships/tags" Target="../tags/tag1684.xml"/><Relationship Id="rId34" Type="http://schemas.openxmlformats.org/officeDocument/2006/relationships/tags" Target="../tags/tag1679.xml"/><Relationship Id="rId50" Type="http://schemas.openxmlformats.org/officeDocument/2006/relationships/tags" Target="../tags/tag1695.xml"/><Relationship Id="rId55" Type="http://schemas.openxmlformats.org/officeDocument/2006/relationships/tags" Target="../tags/tag1700.xml"/><Relationship Id="rId76" Type="http://schemas.openxmlformats.org/officeDocument/2006/relationships/tags" Target="../tags/tag1721.xml"/><Relationship Id="rId97" Type="http://schemas.openxmlformats.org/officeDocument/2006/relationships/tags" Target="../tags/tag1742.xml"/><Relationship Id="rId7" Type="http://schemas.openxmlformats.org/officeDocument/2006/relationships/tags" Target="../tags/tag1652.xml"/><Relationship Id="rId71" Type="http://schemas.openxmlformats.org/officeDocument/2006/relationships/tags" Target="../tags/tag1716.xml"/><Relationship Id="rId92" Type="http://schemas.openxmlformats.org/officeDocument/2006/relationships/tags" Target="../tags/tag1737.xml"/><Relationship Id="rId2" Type="http://schemas.openxmlformats.org/officeDocument/2006/relationships/tags" Target="../tags/tag1647.xml"/><Relationship Id="rId29" Type="http://schemas.openxmlformats.org/officeDocument/2006/relationships/tags" Target="../tags/tag1674.xml"/><Relationship Id="rId24" Type="http://schemas.openxmlformats.org/officeDocument/2006/relationships/tags" Target="../tags/tag1669.xml"/><Relationship Id="rId40" Type="http://schemas.openxmlformats.org/officeDocument/2006/relationships/tags" Target="../tags/tag1685.xml"/><Relationship Id="rId45" Type="http://schemas.openxmlformats.org/officeDocument/2006/relationships/tags" Target="../tags/tag1690.xml"/><Relationship Id="rId66" Type="http://schemas.openxmlformats.org/officeDocument/2006/relationships/tags" Target="../tags/tag1711.xml"/><Relationship Id="rId87" Type="http://schemas.openxmlformats.org/officeDocument/2006/relationships/tags" Target="../tags/tag1732.xml"/><Relationship Id="rId61" Type="http://schemas.openxmlformats.org/officeDocument/2006/relationships/tags" Target="../tags/tag1706.xml"/><Relationship Id="rId82" Type="http://schemas.openxmlformats.org/officeDocument/2006/relationships/tags" Target="../tags/tag1727.xml"/><Relationship Id="rId19" Type="http://schemas.openxmlformats.org/officeDocument/2006/relationships/tags" Target="../tags/tag1664.xml"/><Relationship Id="rId14" Type="http://schemas.openxmlformats.org/officeDocument/2006/relationships/tags" Target="../tags/tag1659.xml"/><Relationship Id="rId30" Type="http://schemas.openxmlformats.org/officeDocument/2006/relationships/tags" Target="../tags/tag1675.xml"/><Relationship Id="rId35" Type="http://schemas.openxmlformats.org/officeDocument/2006/relationships/tags" Target="../tags/tag1680.xml"/><Relationship Id="rId56" Type="http://schemas.openxmlformats.org/officeDocument/2006/relationships/tags" Target="../tags/tag1701.xml"/><Relationship Id="rId77" Type="http://schemas.openxmlformats.org/officeDocument/2006/relationships/tags" Target="../tags/tag1722.xml"/><Relationship Id="rId100" Type="http://schemas.openxmlformats.org/officeDocument/2006/relationships/image" Target="../media/image12.emf"/><Relationship Id="rId8" Type="http://schemas.openxmlformats.org/officeDocument/2006/relationships/tags" Target="../tags/tag1653.xml"/><Relationship Id="rId51" Type="http://schemas.openxmlformats.org/officeDocument/2006/relationships/tags" Target="../tags/tag1696.xml"/><Relationship Id="rId72" Type="http://schemas.openxmlformats.org/officeDocument/2006/relationships/tags" Target="../tags/tag1717.xml"/><Relationship Id="rId93" Type="http://schemas.openxmlformats.org/officeDocument/2006/relationships/tags" Target="../tags/tag1738.xml"/><Relationship Id="rId98" Type="http://schemas.openxmlformats.org/officeDocument/2006/relationships/slideMaster" Target="../slideMasters/slideMaster1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6" Type="http://schemas.openxmlformats.org/officeDocument/2006/relationships/tags" Target="../tags/tag1767.xml"/><Relationship Id="rId21" Type="http://schemas.openxmlformats.org/officeDocument/2006/relationships/tags" Target="../tags/tag1762.xml"/><Relationship Id="rId42" Type="http://schemas.openxmlformats.org/officeDocument/2006/relationships/tags" Target="../tags/tag1783.xml"/><Relationship Id="rId47" Type="http://schemas.openxmlformats.org/officeDocument/2006/relationships/tags" Target="../tags/tag1788.xml"/><Relationship Id="rId63" Type="http://schemas.openxmlformats.org/officeDocument/2006/relationships/tags" Target="../tags/tag1804.xml"/><Relationship Id="rId68" Type="http://schemas.openxmlformats.org/officeDocument/2006/relationships/tags" Target="../tags/tag1809.xml"/><Relationship Id="rId84" Type="http://schemas.openxmlformats.org/officeDocument/2006/relationships/tags" Target="../tags/tag1825.xml"/><Relationship Id="rId89" Type="http://schemas.openxmlformats.org/officeDocument/2006/relationships/tags" Target="../tags/tag1830.xml"/><Relationship Id="rId16" Type="http://schemas.openxmlformats.org/officeDocument/2006/relationships/tags" Target="../tags/tag1757.xml"/><Relationship Id="rId11" Type="http://schemas.openxmlformats.org/officeDocument/2006/relationships/tags" Target="../tags/tag1752.xml"/><Relationship Id="rId32" Type="http://schemas.openxmlformats.org/officeDocument/2006/relationships/tags" Target="../tags/tag1773.xml"/><Relationship Id="rId37" Type="http://schemas.openxmlformats.org/officeDocument/2006/relationships/tags" Target="../tags/tag1778.xml"/><Relationship Id="rId53" Type="http://schemas.openxmlformats.org/officeDocument/2006/relationships/tags" Target="../tags/tag1794.xml"/><Relationship Id="rId58" Type="http://schemas.openxmlformats.org/officeDocument/2006/relationships/tags" Target="../tags/tag1799.xml"/><Relationship Id="rId74" Type="http://schemas.openxmlformats.org/officeDocument/2006/relationships/tags" Target="../tags/tag1815.xml"/><Relationship Id="rId79" Type="http://schemas.openxmlformats.org/officeDocument/2006/relationships/tags" Target="../tags/tag1820.xml"/><Relationship Id="rId5" Type="http://schemas.openxmlformats.org/officeDocument/2006/relationships/tags" Target="../tags/tag1746.xml"/><Relationship Id="rId90" Type="http://schemas.openxmlformats.org/officeDocument/2006/relationships/tags" Target="../tags/tag1831.xml"/><Relationship Id="rId95" Type="http://schemas.openxmlformats.org/officeDocument/2006/relationships/tags" Target="../tags/tag1836.xml"/><Relationship Id="rId22" Type="http://schemas.openxmlformats.org/officeDocument/2006/relationships/tags" Target="../tags/tag1763.xml"/><Relationship Id="rId27" Type="http://schemas.openxmlformats.org/officeDocument/2006/relationships/tags" Target="../tags/tag1768.xml"/><Relationship Id="rId43" Type="http://schemas.openxmlformats.org/officeDocument/2006/relationships/tags" Target="../tags/tag1784.xml"/><Relationship Id="rId48" Type="http://schemas.openxmlformats.org/officeDocument/2006/relationships/tags" Target="../tags/tag1789.xml"/><Relationship Id="rId64" Type="http://schemas.openxmlformats.org/officeDocument/2006/relationships/tags" Target="../tags/tag1805.xml"/><Relationship Id="rId69" Type="http://schemas.openxmlformats.org/officeDocument/2006/relationships/tags" Target="../tags/tag1810.xml"/><Relationship Id="rId80" Type="http://schemas.openxmlformats.org/officeDocument/2006/relationships/tags" Target="../tags/tag1821.xml"/><Relationship Id="rId85" Type="http://schemas.openxmlformats.org/officeDocument/2006/relationships/tags" Target="../tags/tag1826.xml"/><Relationship Id="rId3" Type="http://schemas.openxmlformats.org/officeDocument/2006/relationships/tags" Target="../tags/tag1744.xml"/><Relationship Id="rId12" Type="http://schemas.openxmlformats.org/officeDocument/2006/relationships/tags" Target="../tags/tag1753.xml"/><Relationship Id="rId17" Type="http://schemas.openxmlformats.org/officeDocument/2006/relationships/tags" Target="../tags/tag1758.xml"/><Relationship Id="rId25" Type="http://schemas.openxmlformats.org/officeDocument/2006/relationships/tags" Target="../tags/tag1766.xml"/><Relationship Id="rId33" Type="http://schemas.openxmlformats.org/officeDocument/2006/relationships/tags" Target="../tags/tag1774.xml"/><Relationship Id="rId38" Type="http://schemas.openxmlformats.org/officeDocument/2006/relationships/tags" Target="../tags/tag1779.xml"/><Relationship Id="rId46" Type="http://schemas.openxmlformats.org/officeDocument/2006/relationships/tags" Target="../tags/tag1787.xml"/><Relationship Id="rId59" Type="http://schemas.openxmlformats.org/officeDocument/2006/relationships/tags" Target="../tags/tag1800.xml"/><Relationship Id="rId67" Type="http://schemas.openxmlformats.org/officeDocument/2006/relationships/tags" Target="../tags/tag1808.xml"/><Relationship Id="rId20" Type="http://schemas.openxmlformats.org/officeDocument/2006/relationships/tags" Target="../tags/tag1761.xml"/><Relationship Id="rId41" Type="http://schemas.openxmlformats.org/officeDocument/2006/relationships/tags" Target="../tags/tag1782.xml"/><Relationship Id="rId54" Type="http://schemas.openxmlformats.org/officeDocument/2006/relationships/tags" Target="../tags/tag1795.xml"/><Relationship Id="rId62" Type="http://schemas.openxmlformats.org/officeDocument/2006/relationships/tags" Target="../tags/tag1803.xml"/><Relationship Id="rId70" Type="http://schemas.openxmlformats.org/officeDocument/2006/relationships/tags" Target="../tags/tag1811.xml"/><Relationship Id="rId75" Type="http://schemas.openxmlformats.org/officeDocument/2006/relationships/tags" Target="../tags/tag1816.xml"/><Relationship Id="rId83" Type="http://schemas.openxmlformats.org/officeDocument/2006/relationships/tags" Target="../tags/tag1824.xml"/><Relationship Id="rId88" Type="http://schemas.openxmlformats.org/officeDocument/2006/relationships/tags" Target="../tags/tag1829.xml"/><Relationship Id="rId91" Type="http://schemas.openxmlformats.org/officeDocument/2006/relationships/tags" Target="../tags/tag1832.xml"/><Relationship Id="rId96" Type="http://schemas.openxmlformats.org/officeDocument/2006/relationships/tags" Target="../tags/tag1837.xml"/><Relationship Id="rId1" Type="http://schemas.openxmlformats.org/officeDocument/2006/relationships/vmlDrawing" Target="../drawings/vmlDrawing82.vml"/><Relationship Id="rId6" Type="http://schemas.openxmlformats.org/officeDocument/2006/relationships/tags" Target="../tags/tag1747.xml"/><Relationship Id="rId15" Type="http://schemas.openxmlformats.org/officeDocument/2006/relationships/tags" Target="../tags/tag1756.xml"/><Relationship Id="rId23" Type="http://schemas.openxmlformats.org/officeDocument/2006/relationships/tags" Target="../tags/tag1764.xml"/><Relationship Id="rId28" Type="http://schemas.openxmlformats.org/officeDocument/2006/relationships/tags" Target="../tags/tag1769.xml"/><Relationship Id="rId36" Type="http://schemas.openxmlformats.org/officeDocument/2006/relationships/tags" Target="../tags/tag1777.xml"/><Relationship Id="rId49" Type="http://schemas.openxmlformats.org/officeDocument/2006/relationships/tags" Target="../tags/tag1790.xml"/><Relationship Id="rId57" Type="http://schemas.openxmlformats.org/officeDocument/2006/relationships/tags" Target="../tags/tag1798.xml"/><Relationship Id="rId10" Type="http://schemas.openxmlformats.org/officeDocument/2006/relationships/tags" Target="../tags/tag1751.xml"/><Relationship Id="rId31" Type="http://schemas.openxmlformats.org/officeDocument/2006/relationships/tags" Target="../tags/tag1772.xml"/><Relationship Id="rId44" Type="http://schemas.openxmlformats.org/officeDocument/2006/relationships/tags" Target="../tags/tag1785.xml"/><Relationship Id="rId52" Type="http://schemas.openxmlformats.org/officeDocument/2006/relationships/tags" Target="../tags/tag1793.xml"/><Relationship Id="rId60" Type="http://schemas.openxmlformats.org/officeDocument/2006/relationships/tags" Target="../tags/tag1801.xml"/><Relationship Id="rId65" Type="http://schemas.openxmlformats.org/officeDocument/2006/relationships/tags" Target="../tags/tag1806.xml"/><Relationship Id="rId73" Type="http://schemas.openxmlformats.org/officeDocument/2006/relationships/tags" Target="../tags/tag1814.xml"/><Relationship Id="rId78" Type="http://schemas.openxmlformats.org/officeDocument/2006/relationships/tags" Target="../tags/tag1819.xml"/><Relationship Id="rId81" Type="http://schemas.openxmlformats.org/officeDocument/2006/relationships/tags" Target="../tags/tag1822.xml"/><Relationship Id="rId86" Type="http://schemas.openxmlformats.org/officeDocument/2006/relationships/tags" Target="../tags/tag1827.xml"/><Relationship Id="rId94" Type="http://schemas.openxmlformats.org/officeDocument/2006/relationships/tags" Target="../tags/tag1835.xml"/><Relationship Id="rId99" Type="http://schemas.openxmlformats.org/officeDocument/2006/relationships/oleObject" Target="../embeddings/oleObject82.bin"/><Relationship Id="rId4" Type="http://schemas.openxmlformats.org/officeDocument/2006/relationships/tags" Target="../tags/tag1745.xml"/><Relationship Id="rId9" Type="http://schemas.openxmlformats.org/officeDocument/2006/relationships/tags" Target="../tags/tag1750.xml"/><Relationship Id="rId13" Type="http://schemas.openxmlformats.org/officeDocument/2006/relationships/tags" Target="../tags/tag1754.xml"/><Relationship Id="rId18" Type="http://schemas.openxmlformats.org/officeDocument/2006/relationships/tags" Target="../tags/tag1759.xml"/><Relationship Id="rId39" Type="http://schemas.openxmlformats.org/officeDocument/2006/relationships/tags" Target="../tags/tag1780.xml"/><Relationship Id="rId34" Type="http://schemas.openxmlformats.org/officeDocument/2006/relationships/tags" Target="../tags/tag1775.xml"/><Relationship Id="rId50" Type="http://schemas.openxmlformats.org/officeDocument/2006/relationships/tags" Target="../tags/tag1791.xml"/><Relationship Id="rId55" Type="http://schemas.openxmlformats.org/officeDocument/2006/relationships/tags" Target="../tags/tag1796.xml"/><Relationship Id="rId76" Type="http://schemas.openxmlformats.org/officeDocument/2006/relationships/tags" Target="../tags/tag1817.xml"/><Relationship Id="rId97" Type="http://schemas.openxmlformats.org/officeDocument/2006/relationships/tags" Target="../tags/tag1838.xml"/><Relationship Id="rId7" Type="http://schemas.openxmlformats.org/officeDocument/2006/relationships/tags" Target="../tags/tag1748.xml"/><Relationship Id="rId71" Type="http://schemas.openxmlformats.org/officeDocument/2006/relationships/tags" Target="../tags/tag1812.xml"/><Relationship Id="rId92" Type="http://schemas.openxmlformats.org/officeDocument/2006/relationships/tags" Target="../tags/tag1833.xml"/><Relationship Id="rId2" Type="http://schemas.openxmlformats.org/officeDocument/2006/relationships/tags" Target="../tags/tag1743.xml"/><Relationship Id="rId29" Type="http://schemas.openxmlformats.org/officeDocument/2006/relationships/tags" Target="../tags/tag1770.xml"/><Relationship Id="rId24" Type="http://schemas.openxmlformats.org/officeDocument/2006/relationships/tags" Target="../tags/tag1765.xml"/><Relationship Id="rId40" Type="http://schemas.openxmlformats.org/officeDocument/2006/relationships/tags" Target="../tags/tag1781.xml"/><Relationship Id="rId45" Type="http://schemas.openxmlformats.org/officeDocument/2006/relationships/tags" Target="../tags/tag1786.xml"/><Relationship Id="rId66" Type="http://schemas.openxmlformats.org/officeDocument/2006/relationships/tags" Target="../tags/tag1807.xml"/><Relationship Id="rId87" Type="http://schemas.openxmlformats.org/officeDocument/2006/relationships/tags" Target="../tags/tag1828.xml"/><Relationship Id="rId61" Type="http://schemas.openxmlformats.org/officeDocument/2006/relationships/tags" Target="../tags/tag1802.xml"/><Relationship Id="rId82" Type="http://schemas.openxmlformats.org/officeDocument/2006/relationships/tags" Target="../tags/tag1823.xml"/><Relationship Id="rId19" Type="http://schemas.openxmlformats.org/officeDocument/2006/relationships/tags" Target="../tags/tag1760.xml"/><Relationship Id="rId14" Type="http://schemas.openxmlformats.org/officeDocument/2006/relationships/tags" Target="../tags/tag1755.xml"/><Relationship Id="rId30" Type="http://schemas.openxmlformats.org/officeDocument/2006/relationships/tags" Target="../tags/tag1771.xml"/><Relationship Id="rId35" Type="http://schemas.openxmlformats.org/officeDocument/2006/relationships/tags" Target="../tags/tag1776.xml"/><Relationship Id="rId56" Type="http://schemas.openxmlformats.org/officeDocument/2006/relationships/tags" Target="../tags/tag1797.xml"/><Relationship Id="rId77" Type="http://schemas.openxmlformats.org/officeDocument/2006/relationships/tags" Target="../tags/tag1818.xml"/><Relationship Id="rId100" Type="http://schemas.openxmlformats.org/officeDocument/2006/relationships/image" Target="../media/image12.emf"/><Relationship Id="rId8" Type="http://schemas.openxmlformats.org/officeDocument/2006/relationships/tags" Target="../tags/tag1749.xml"/><Relationship Id="rId51" Type="http://schemas.openxmlformats.org/officeDocument/2006/relationships/tags" Target="../tags/tag1792.xml"/><Relationship Id="rId72" Type="http://schemas.openxmlformats.org/officeDocument/2006/relationships/tags" Target="../tags/tag1813.xml"/><Relationship Id="rId93" Type="http://schemas.openxmlformats.org/officeDocument/2006/relationships/tags" Target="../tags/tag1834.xml"/><Relationship Id="rId98" Type="http://schemas.openxmlformats.org/officeDocument/2006/relationships/slideMaster" Target="../slideMasters/slideMaster13.xml"/></Relationships>
</file>

<file path=ppt/slideLayouts/_rels/slideLayout81.xml.rels><?xml version="1.0" encoding="UTF-8" standalone="yes"?>
<Relationships xmlns="http://schemas.openxmlformats.org/package/2006/relationships"><Relationship Id="rId26" Type="http://schemas.openxmlformats.org/officeDocument/2006/relationships/tags" Target="../tags/tag1863.xml"/><Relationship Id="rId21" Type="http://schemas.openxmlformats.org/officeDocument/2006/relationships/tags" Target="../tags/tag1858.xml"/><Relationship Id="rId42" Type="http://schemas.openxmlformats.org/officeDocument/2006/relationships/tags" Target="../tags/tag1879.xml"/><Relationship Id="rId47" Type="http://schemas.openxmlformats.org/officeDocument/2006/relationships/tags" Target="../tags/tag1884.xml"/><Relationship Id="rId63" Type="http://schemas.openxmlformats.org/officeDocument/2006/relationships/tags" Target="../tags/tag1900.xml"/><Relationship Id="rId68" Type="http://schemas.openxmlformats.org/officeDocument/2006/relationships/tags" Target="../tags/tag1905.xml"/><Relationship Id="rId7" Type="http://schemas.openxmlformats.org/officeDocument/2006/relationships/tags" Target="../tags/tag1844.xml"/><Relationship Id="rId71" Type="http://schemas.openxmlformats.org/officeDocument/2006/relationships/oleObject" Target="../embeddings/oleObject83.bin"/><Relationship Id="rId2" Type="http://schemas.openxmlformats.org/officeDocument/2006/relationships/tags" Target="../tags/tag1839.xml"/><Relationship Id="rId16" Type="http://schemas.openxmlformats.org/officeDocument/2006/relationships/tags" Target="../tags/tag1853.xml"/><Relationship Id="rId29" Type="http://schemas.openxmlformats.org/officeDocument/2006/relationships/tags" Target="../tags/tag1866.xml"/><Relationship Id="rId11" Type="http://schemas.openxmlformats.org/officeDocument/2006/relationships/tags" Target="../tags/tag1848.xml"/><Relationship Id="rId24" Type="http://schemas.openxmlformats.org/officeDocument/2006/relationships/tags" Target="../tags/tag1861.xml"/><Relationship Id="rId32" Type="http://schemas.openxmlformats.org/officeDocument/2006/relationships/tags" Target="../tags/tag1869.xml"/><Relationship Id="rId37" Type="http://schemas.openxmlformats.org/officeDocument/2006/relationships/tags" Target="../tags/tag1874.xml"/><Relationship Id="rId40" Type="http://schemas.openxmlformats.org/officeDocument/2006/relationships/tags" Target="../tags/tag1877.xml"/><Relationship Id="rId45" Type="http://schemas.openxmlformats.org/officeDocument/2006/relationships/tags" Target="../tags/tag1882.xml"/><Relationship Id="rId53" Type="http://schemas.openxmlformats.org/officeDocument/2006/relationships/tags" Target="../tags/tag1890.xml"/><Relationship Id="rId58" Type="http://schemas.openxmlformats.org/officeDocument/2006/relationships/tags" Target="../tags/tag1895.xml"/><Relationship Id="rId66" Type="http://schemas.openxmlformats.org/officeDocument/2006/relationships/tags" Target="../tags/tag1903.xml"/><Relationship Id="rId5" Type="http://schemas.openxmlformats.org/officeDocument/2006/relationships/tags" Target="../tags/tag1842.xml"/><Relationship Id="rId61" Type="http://schemas.openxmlformats.org/officeDocument/2006/relationships/tags" Target="../tags/tag1898.xml"/><Relationship Id="rId19" Type="http://schemas.openxmlformats.org/officeDocument/2006/relationships/tags" Target="../tags/tag1856.xml"/><Relationship Id="rId14" Type="http://schemas.openxmlformats.org/officeDocument/2006/relationships/tags" Target="../tags/tag1851.xml"/><Relationship Id="rId22" Type="http://schemas.openxmlformats.org/officeDocument/2006/relationships/tags" Target="../tags/tag1859.xml"/><Relationship Id="rId27" Type="http://schemas.openxmlformats.org/officeDocument/2006/relationships/tags" Target="../tags/tag1864.xml"/><Relationship Id="rId30" Type="http://schemas.openxmlformats.org/officeDocument/2006/relationships/tags" Target="../tags/tag1867.xml"/><Relationship Id="rId35" Type="http://schemas.openxmlformats.org/officeDocument/2006/relationships/tags" Target="../tags/tag1872.xml"/><Relationship Id="rId43" Type="http://schemas.openxmlformats.org/officeDocument/2006/relationships/tags" Target="../tags/tag1880.xml"/><Relationship Id="rId48" Type="http://schemas.openxmlformats.org/officeDocument/2006/relationships/tags" Target="../tags/tag1885.xml"/><Relationship Id="rId56" Type="http://schemas.openxmlformats.org/officeDocument/2006/relationships/tags" Target="../tags/tag1893.xml"/><Relationship Id="rId64" Type="http://schemas.openxmlformats.org/officeDocument/2006/relationships/tags" Target="../tags/tag1901.xml"/><Relationship Id="rId69" Type="http://schemas.openxmlformats.org/officeDocument/2006/relationships/tags" Target="../tags/tag1906.xml"/><Relationship Id="rId8" Type="http://schemas.openxmlformats.org/officeDocument/2006/relationships/tags" Target="../tags/tag1845.xml"/><Relationship Id="rId51" Type="http://schemas.openxmlformats.org/officeDocument/2006/relationships/tags" Target="../tags/tag1888.xml"/><Relationship Id="rId72" Type="http://schemas.openxmlformats.org/officeDocument/2006/relationships/image" Target="../media/image12.emf"/><Relationship Id="rId3" Type="http://schemas.openxmlformats.org/officeDocument/2006/relationships/tags" Target="../tags/tag1840.xml"/><Relationship Id="rId12" Type="http://schemas.openxmlformats.org/officeDocument/2006/relationships/tags" Target="../tags/tag1849.xml"/><Relationship Id="rId17" Type="http://schemas.openxmlformats.org/officeDocument/2006/relationships/tags" Target="../tags/tag1854.xml"/><Relationship Id="rId25" Type="http://schemas.openxmlformats.org/officeDocument/2006/relationships/tags" Target="../tags/tag1862.xml"/><Relationship Id="rId33" Type="http://schemas.openxmlformats.org/officeDocument/2006/relationships/tags" Target="../tags/tag1870.xml"/><Relationship Id="rId38" Type="http://schemas.openxmlformats.org/officeDocument/2006/relationships/tags" Target="../tags/tag1875.xml"/><Relationship Id="rId46" Type="http://schemas.openxmlformats.org/officeDocument/2006/relationships/tags" Target="../tags/tag1883.xml"/><Relationship Id="rId59" Type="http://schemas.openxmlformats.org/officeDocument/2006/relationships/tags" Target="../tags/tag1896.xml"/><Relationship Id="rId67" Type="http://schemas.openxmlformats.org/officeDocument/2006/relationships/tags" Target="../tags/tag1904.xml"/><Relationship Id="rId20" Type="http://schemas.openxmlformats.org/officeDocument/2006/relationships/tags" Target="../tags/tag1857.xml"/><Relationship Id="rId41" Type="http://schemas.openxmlformats.org/officeDocument/2006/relationships/tags" Target="../tags/tag1878.xml"/><Relationship Id="rId54" Type="http://schemas.openxmlformats.org/officeDocument/2006/relationships/tags" Target="../tags/tag1891.xml"/><Relationship Id="rId62" Type="http://schemas.openxmlformats.org/officeDocument/2006/relationships/tags" Target="../tags/tag1899.xml"/><Relationship Id="rId70" Type="http://schemas.openxmlformats.org/officeDocument/2006/relationships/slideMaster" Target="../slideMasters/slideMaster13.xml"/><Relationship Id="rId1" Type="http://schemas.openxmlformats.org/officeDocument/2006/relationships/vmlDrawing" Target="../drawings/vmlDrawing83.vml"/><Relationship Id="rId6" Type="http://schemas.openxmlformats.org/officeDocument/2006/relationships/tags" Target="../tags/tag1843.xml"/><Relationship Id="rId15" Type="http://schemas.openxmlformats.org/officeDocument/2006/relationships/tags" Target="../tags/tag1852.xml"/><Relationship Id="rId23" Type="http://schemas.openxmlformats.org/officeDocument/2006/relationships/tags" Target="../tags/tag1860.xml"/><Relationship Id="rId28" Type="http://schemas.openxmlformats.org/officeDocument/2006/relationships/tags" Target="../tags/tag1865.xml"/><Relationship Id="rId36" Type="http://schemas.openxmlformats.org/officeDocument/2006/relationships/tags" Target="../tags/tag1873.xml"/><Relationship Id="rId49" Type="http://schemas.openxmlformats.org/officeDocument/2006/relationships/tags" Target="../tags/tag1886.xml"/><Relationship Id="rId57" Type="http://schemas.openxmlformats.org/officeDocument/2006/relationships/tags" Target="../tags/tag1894.xml"/><Relationship Id="rId10" Type="http://schemas.openxmlformats.org/officeDocument/2006/relationships/tags" Target="../tags/tag1847.xml"/><Relationship Id="rId31" Type="http://schemas.openxmlformats.org/officeDocument/2006/relationships/tags" Target="../tags/tag1868.xml"/><Relationship Id="rId44" Type="http://schemas.openxmlformats.org/officeDocument/2006/relationships/tags" Target="../tags/tag1881.xml"/><Relationship Id="rId52" Type="http://schemas.openxmlformats.org/officeDocument/2006/relationships/tags" Target="../tags/tag1889.xml"/><Relationship Id="rId60" Type="http://schemas.openxmlformats.org/officeDocument/2006/relationships/tags" Target="../tags/tag1897.xml"/><Relationship Id="rId65" Type="http://schemas.openxmlformats.org/officeDocument/2006/relationships/tags" Target="../tags/tag1902.xml"/><Relationship Id="rId4" Type="http://schemas.openxmlformats.org/officeDocument/2006/relationships/tags" Target="../tags/tag1841.xml"/><Relationship Id="rId9" Type="http://schemas.openxmlformats.org/officeDocument/2006/relationships/tags" Target="../tags/tag1846.xml"/><Relationship Id="rId13" Type="http://schemas.openxmlformats.org/officeDocument/2006/relationships/tags" Target="../tags/tag1850.xml"/><Relationship Id="rId18" Type="http://schemas.openxmlformats.org/officeDocument/2006/relationships/tags" Target="../tags/tag1855.xml"/><Relationship Id="rId39" Type="http://schemas.openxmlformats.org/officeDocument/2006/relationships/tags" Target="../tags/tag1876.xml"/><Relationship Id="rId34" Type="http://schemas.openxmlformats.org/officeDocument/2006/relationships/tags" Target="../tags/tag1871.xml"/><Relationship Id="rId50" Type="http://schemas.openxmlformats.org/officeDocument/2006/relationships/tags" Target="../tags/tag1887.xml"/><Relationship Id="rId55" Type="http://schemas.openxmlformats.org/officeDocument/2006/relationships/tags" Target="../tags/tag1892.xml"/></Relationships>
</file>

<file path=ppt/slideLayouts/_rels/slideLayout82.xml.rels><?xml version="1.0" encoding="UTF-8" standalone="yes"?>
<Relationships xmlns="http://schemas.openxmlformats.org/package/2006/relationships"><Relationship Id="rId26" Type="http://schemas.openxmlformats.org/officeDocument/2006/relationships/tags" Target="../tags/tag1931.xml"/><Relationship Id="rId21" Type="http://schemas.openxmlformats.org/officeDocument/2006/relationships/tags" Target="../tags/tag1926.xml"/><Relationship Id="rId42" Type="http://schemas.openxmlformats.org/officeDocument/2006/relationships/tags" Target="../tags/tag1947.xml"/><Relationship Id="rId47" Type="http://schemas.openxmlformats.org/officeDocument/2006/relationships/tags" Target="../tags/tag1952.xml"/><Relationship Id="rId63" Type="http://schemas.openxmlformats.org/officeDocument/2006/relationships/tags" Target="../tags/tag1968.xml"/><Relationship Id="rId68" Type="http://schemas.openxmlformats.org/officeDocument/2006/relationships/tags" Target="../tags/tag1973.xml"/><Relationship Id="rId84" Type="http://schemas.openxmlformats.org/officeDocument/2006/relationships/tags" Target="../tags/tag1989.xml"/><Relationship Id="rId89" Type="http://schemas.openxmlformats.org/officeDocument/2006/relationships/tags" Target="../tags/tag1994.xml"/><Relationship Id="rId16" Type="http://schemas.openxmlformats.org/officeDocument/2006/relationships/tags" Target="../tags/tag1921.xml"/><Relationship Id="rId11" Type="http://schemas.openxmlformats.org/officeDocument/2006/relationships/tags" Target="../tags/tag1916.xml"/><Relationship Id="rId32" Type="http://schemas.openxmlformats.org/officeDocument/2006/relationships/tags" Target="../tags/tag1937.xml"/><Relationship Id="rId37" Type="http://schemas.openxmlformats.org/officeDocument/2006/relationships/tags" Target="../tags/tag1942.xml"/><Relationship Id="rId53" Type="http://schemas.openxmlformats.org/officeDocument/2006/relationships/tags" Target="../tags/tag1958.xml"/><Relationship Id="rId58" Type="http://schemas.openxmlformats.org/officeDocument/2006/relationships/tags" Target="../tags/tag1963.xml"/><Relationship Id="rId74" Type="http://schemas.openxmlformats.org/officeDocument/2006/relationships/tags" Target="../tags/tag1979.xml"/><Relationship Id="rId79" Type="http://schemas.openxmlformats.org/officeDocument/2006/relationships/tags" Target="../tags/tag1984.xml"/><Relationship Id="rId5" Type="http://schemas.openxmlformats.org/officeDocument/2006/relationships/tags" Target="../tags/tag1910.xml"/><Relationship Id="rId90" Type="http://schemas.openxmlformats.org/officeDocument/2006/relationships/tags" Target="../tags/tag1995.xml"/><Relationship Id="rId95" Type="http://schemas.openxmlformats.org/officeDocument/2006/relationships/tags" Target="../tags/tag2000.xml"/><Relationship Id="rId22" Type="http://schemas.openxmlformats.org/officeDocument/2006/relationships/tags" Target="../tags/tag1927.xml"/><Relationship Id="rId27" Type="http://schemas.openxmlformats.org/officeDocument/2006/relationships/tags" Target="../tags/tag1932.xml"/><Relationship Id="rId43" Type="http://schemas.openxmlformats.org/officeDocument/2006/relationships/tags" Target="../tags/tag1948.xml"/><Relationship Id="rId48" Type="http://schemas.openxmlformats.org/officeDocument/2006/relationships/tags" Target="../tags/tag1953.xml"/><Relationship Id="rId64" Type="http://schemas.openxmlformats.org/officeDocument/2006/relationships/tags" Target="../tags/tag1969.xml"/><Relationship Id="rId69" Type="http://schemas.openxmlformats.org/officeDocument/2006/relationships/tags" Target="../tags/tag1974.xml"/><Relationship Id="rId80" Type="http://schemas.openxmlformats.org/officeDocument/2006/relationships/tags" Target="../tags/tag1985.xml"/><Relationship Id="rId85" Type="http://schemas.openxmlformats.org/officeDocument/2006/relationships/tags" Target="../tags/tag1990.xml"/><Relationship Id="rId12" Type="http://schemas.openxmlformats.org/officeDocument/2006/relationships/tags" Target="../tags/tag1917.xml"/><Relationship Id="rId17" Type="http://schemas.openxmlformats.org/officeDocument/2006/relationships/tags" Target="../tags/tag1922.xml"/><Relationship Id="rId25" Type="http://schemas.openxmlformats.org/officeDocument/2006/relationships/tags" Target="../tags/tag1930.xml"/><Relationship Id="rId33" Type="http://schemas.openxmlformats.org/officeDocument/2006/relationships/tags" Target="../tags/tag1938.xml"/><Relationship Id="rId38" Type="http://schemas.openxmlformats.org/officeDocument/2006/relationships/tags" Target="../tags/tag1943.xml"/><Relationship Id="rId46" Type="http://schemas.openxmlformats.org/officeDocument/2006/relationships/tags" Target="../tags/tag1951.xml"/><Relationship Id="rId59" Type="http://schemas.openxmlformats.org/officeDocument/2006/relationships/tags" Target="../tags/tag1964.xml"/><Relationship Id="rId67" Type="http://schemas.openxmlformats.org/officeDocument/2006/relationships/tags" Target="../tags/tag1972.xml"/><Relationship Id="rId20" Type="http://schemas.openxmlformats.org/officeDocument/2006/relationships/tags" Target="../tags/tag1925.xml"/><Relationship Id="rId41" Type="http://schemas.openxmlformats.org/officeDocument/2006/relationships/tags" Target="../tags/tag1946.xml"/><Relationship Id="rId54" Type="http://schemas.openxmlformats.org/officeDocument/2006/relationships/tags" Target="../tags/tag1959.xml"/><Relationship Id="rId62" Type="http://schemas.openxmlformats.org/officeDocument/2006/relationships/tags" Target="../tags/tag1967.xml"/><Relationship Id="rId70" Type="http://schemas.openxmlformats.org/officeDocument/2006/relationships/tags" Target="../tags/tag1975.xml"/><Relationship Id="rId75" Type="http://schemas.openxmlformats.org/officeDocument/2006/relationships/tags" Target="../tags/tag1980.xml"/><Relationship Id="rId83" Type="http://schemas.openxmlformats.org/officeDocument/2006/relationships/tags" Target="../tags/tag1988.xml"/><Relationship Id="rId88" Type="http://schemas.openxmlformats.org/officeDocument/2006/relationships/tags" Target="../tags/tag1993.xml"/><Relationship Id="rId91" Type="http://schemas.openxmlformats.org/officeDocument/2006/relationships/tags" Target="../tags/tag1996.xml"/><Relationship Id="rId96" Type="http://schemas.openxmlformats.org/officeDocument/2006/relationships/tags" Target="../tags/tag2001.xml"/><Relationship Id="rId1" Type="http://schemas.openxmlformats.org/officeDocument/2006/relationships/vmlDrawing" Target="../drawings/vmlDrawing84.vml"/><Relationship Id="rId6" Type="http://schemas.openxmlformats.org/officeDocument/2006/relationships/tags" Target="../tags/tag1911.xml"/><Relationship Id="rId15" Type="http://schemas.openxmlformats.org/officeDocument/2006/relationships/tags" Target="../tags/tag1920.xml"/><Relationship Id="rId23" Type="http://schemas.openxmlformats.org/officeDocument/2006/relationships/tags" Target="../tags/tag1928.xml"/><Relationship Id="rId28" Type="http://schemas.openxmlformats.org/officeDocument/2006/relationships/tags" Target="../tags/tag1933.xml"/><Relationship Id="rId36" Type="http://schemas.openxmlformats.org/officeDocument/2006/relationships/tags" Target="../tags/tag1941.xml"/><Relationship Id="rId49" Type="http://schemas.openxmlformats.org/officeDocument/2006/relationships/tags" Target="../tags/tag1954.xml"/><Relationship Id="rId57" Type="http://schemas.openxmlformats.org/officeDocument/2006/relationships/tags" Target="../tags/tag1962.xml"/><Relationship Id="rId10" Type="http://schemas.openxmlformats.org/officeDocument/2006/relationships/tags" Target="../tags/tag1915.xml"/><Relationship Id="rId31" Type="http://schemas.openxmlformats.org/officeDocument/2006/relationships/tags" Target="../tags/tag1936.xml"/><Relationship Id="rId44" Type="http://schemas.openxmlformats.org/officeDocument/2006/relationships/tags" Target="../tags/tag1949.xml"/><Relationship Id="rId52" Type="http://schemas.openxmlformats.org/officeDocument/2006/relationships/tags" Target="../tags/tag1957.xml"/><Relationship Id="rId60" Type="http://schemas.openxmlformats.org/officeDocument/2006/relationships/tags" Target="../tags/tag1965.xml"/><Relationship Id="rId65" Type="http://schemas.openxmlformats.org/officeDocument/2006/relationships/tags" Target="../tags/tag1970.xml"/><Relationship Id="rId73" Type="http://schemas.openxmlformats.org/officeDocument/2006/relationships/tags" Target="../tags/tag1978.xml"/><Relationship Id="rId78" Type="http://schemas.openxmlformats.org/officeDocument/2006/relationships/tags" Target="../tags/tag1983.xml"/><Relationship Id="rId81" Type="http://schemas.openxmlformats.org/officeDocument/2006/relationships/tags" Target="../tags/tag1986.xml"/><Relationship Id="rId86" Type="http://schemas.openxmlformats.org/officeDocument/2006/relationships/tags" Target="../tags/tag1991.xml"/><Relationship Id="rId94" Type="http://schemas.openxmlformats.org/officeDocument/2006/relationships/tags" Target="../tags/tag1999.xml"/><Relationship Id="rId99" Type="http://schemas.openxmlformats.org/officeDocument/2006/relationships/slideMaster" Target="../slideMasters/slideMaster13.xml"/><Relationship Id="rId101" Type="http://schemas.openxmlformats.org/officeDocument/2006/relationships/image" Target="../media/image12.emf"/><Relationship Id="rId4" Type="http://schemas.openxmlformats.org/officeDocument/2006/relationships/tags" Target="../tags/tag1909.xml"/><Relationship Id="rId9" Type="http://schemas.openxmlformats.org/officeDocument/2006/relationships/tags" Target="../tags/tag1914.xml"/><Relationship Id="rId13" Type="http://schemas.openxmlformats.org/officeDocument/2006/relationships/tags" Target="../tags/tag1918.xml"/><Relationship Id="rId18" Type="http://schemas.openxmlformats.org/officeDocument/2006/relationships/tags" Target="../tags/tag1923.xml"/><Relationship Id="rId39" Type="http://schemas.openxmlformats.org/officeDocument/2006/relationships/tags" Target="../tags/tag1944.xml"/><Relationship Id="rId34" Type="http://schemas.openxmlformats.org/officeDocument/2006/relationships/tags" Target="../tags/tag1939.xml"/><Relationship Id="rId50" Type="http://schemas.openxmlformats.org/officeDocument/2006/relationships/tags" Target="../tags/tag1955.xml"/><Relationship Id="rId55" Type="http://schemas.openxmlformats.org/officeDocument/2006/relationships/tags" Target="../tags/tag1960.xml"/><Relationship Id="rId76" Type="http://schemas.openxmlformats.org/officeDocument/2006/relationships/tags" Target="../tags/tag1981.xml"/><Relationship Id="rId97" Type="http://schemas.openxmlformats.org/officeDocument/2006/relationships/tags" Target="../tags/tag2002.xml"/><Relationship Id="rId7" Type="http://schemas.openxmlformats.org/officeDocument/2006/relationships/tags" Target="../tags/tag1912.xml"/><Relationship Id="rId71" Type="http://schemas.openxmlformats.org/officeDocument/2006/relationships/tags" Target="../tags/tag1976.xml"/><Relationship Id="rId92" Type="http://schemas.openxmlformats.org/officeDocument/2006/relationships/tags" Target="../tags/tag1997.xml"/><Relationship Id="rId2" Type="http://schemas.openxmlformats.org/officeDocument/2006/relationships/tags" Target="../tags/tag1907.xml"/><Relationship Id="rId29" Type="http://schemas.openxmlformats.org/officeDocument/2006/relationships/tags" Target="../tags/tag1934.xml"/><Relationship Id="rId24" Type="http://schemas.openxmlformats.org/officeDocument/2006/relationships/tags" Target="../tags/tag1929.xml"/><Relationship Id="rId40" Type="http://schemas.openxmlformats.org/officeDocument/2006/relationships/tags" Target="../tags/tag1945.xml"/><Relationship Id="rId45" Type="http://schemas.openxmlformats.org/officeDocument/2006/relationships/tags" Target="../tags/tag1950.xml"/><Relationship Id="rId66" Type="http://schemas.openxmlformats.org/officeDocument/2006/relationships/tags" Target="../tags/tag1971.xml"/><Relationship Id="rId87" Type="http://schemas.openxmlformats.org/officeDocument/2006/relationships/tags" Target="../tags/tag1992.xml"/><Relationship Id="rId61" Type="http://schemas.openxmlformats.org/officeDocument/2006/relationships/tags" Target="../tags/tag1966.xml"/><Relationship Id="rId82" Type="http://schemas.openxmlformats.org/officeDocument/2006/relationships/tags" Target="../tags/tag1987.xml"/><Relationship Id="rId19" Type="http://schemas.openxmlformats.org/officeDocument/2006/relationships/tags" Target="../tags/tag1924.xml"/><Relationship Id="rId14" Type="http://schemas.openxmlformats.org/officeDocument/2006/relationships/tags" Target="../tags/tag1919.xml"/><Relationship Id="rId30" Type="http://schemas.openxmlformats.org/officeDocument/2006/relationships/tags" Target="../tags/tag1935.xml"/><Relationship Id="rId35" Type="http://schemas.openxmlformats.org/officeDocument/2006/relationships/tags" Target="../tags/tag1940.xml"/><Relationship Id="rId56" Type="http://schemas.openxmlformats.org/officeDocument/2006/relationships/tags" Target="../tags/tag1961.xml"/><Relationship Id="rId77" Type="http://schemas.openxmlformats.org/officeDocument/2006/relationships/tags" Target="../tags/tag1982.xml"/><Relationship Id="rId100" Type="http://schemas.openxmlformats.org/officeDocument/2006/relationships/oleObject" Target="../embeddings/oleObject84.bin"/><Relationship Id="rId8" Type="http://schemas.openxmlformats.org/officeDocument/2006/relationships/tags" Target="../tags/tag1913.xml"/><Relationship Id="rId51" Type="http://schemas.openxmlformats.org/officeDocument/2006/relationships/tags" Target="../tags/tag1956.xml"/><Relationship Id="rId72" Type="http://schemas.openxmlformats.org/officeDocument/2006/relationships/tags" Target="../tags/tag1977.xml"/><Relationship Id="rId93" Type="http://schemas.openxmlformats.org/officeDocument/2006/relationships/tags" Target="../tags/tag1998.xml"/><Relationship Id="rId98" Type="http://schemas.openxmlformats.org/officeDocument/2006/relationships/tags" Target="../tags/tag2003.xml"/><Relationship Id="rId3" Type="http://schemas.openxmlformats.org/officeDocument/2006/relationships/tags" Target="../tags/tag1908.xml"/></Relationships>
</file>

<file path=ppt/slideLayouts/_rels/slideLayout83.xml.rels><?xml version="1.0" encoding="UTF-8" standalone="yes"?>
<Relationships xmlns="http://schemas.openxmlformats.org/package/2006/relationships"><Relationship Id="rId26" Type="http://schemas.openxmlformats.org/officeDocument/2006/relationships/tags" Target="../tags/tag2028.xml"/><Relationship Id="rId21" Type="http://schemas.openxmlformats.org/officeDocument/2006/relationships/tags" Target="../tags/tag2023.xml"/><Relationship Id="rId42" Type="http://schemas.openxmlformats.org/officeDocument/2006/relationships/tags" Target="../tags/tag2044.xml"/><Relationship Id="rId47" Type="http://schemas.openxmlformats.org/officeDocument/2006/relationships/tags" Target="../tags/tag2049.xml"/><Relationship Id="rId63" Type="http://schemas.openxmlformats.org/officeDocument/2006/relationships/tags" Target="../tags/tag2065.xml"/><Relationship Id="rId68" Type="http://schemas.openxmlformats.org/officeDocument/2006/relationships/tags" Target="../tags/tag2070.xml"/><Relationship Id="rId84" Type="http://schemas.openxmlformats.org/officeDocument/2006/relationships/tags" Target="../tags/tag2086.xml"/><Relationship Id="rId89" Type="http://schemas.openxmlformats.org/officeDocument/2006/relationships/tags" Target="../tags/tag2091.xml"/><Relationship Id="rId16" Type="http://schemas.openxmlformats.org/officeDocument/2006/relationships/tags" Target="../tags/tag2018.xml"/><Relationship Id="rId11" Type="http://schemas.openxmlformats.org/officeDocument/2006/relationships/tags" Target="../tags/tag2013.xml"/><Relationship Id="rId32" Type="http://schemas.openxmlformats.org/officeDocument/2006/relationships/tags" Target="../tags/tag2034.xml"/><Relationship Id="rId37" Type="http://schemas.openxmlformats.org/officeDocument/2006/relationships/tags" Target="../tags/tag2039.xml"/><Relationship Id="rId53" Type="http://schemas.openxmlformats.org/officeDocument/2006/relationships/tags" Target="../tags/tag2055.xml"/><Relationship Id="rId58" Type="http://schemas.openxmlformats.org/officeDocument/2006/relationships/tags" Target="../tags/tag2060.xml"/><Relationship Id="rId74" Type="http://schemas.openxmlformats.org/officeDocument/2006/relationships/tags" Target="../tags/tag2076.xml"/><Relationship Id="rId79" Type="http://schemas.openxmlformats.org/officeDocument/2006/relationships/tags" Target="../tags/tag2081.xml"/><Relationship Id="rId5" Type="http://schemas.openxmlformats.org/officeDocument/2006/relationships/tags" Target="../tags/tag2007.xml"/><Relationship Id="rId90" Type="http://schemas.openxmlformats.org/officeDocument/2006/relationships/tags" Target="../tags/tag2092.xml"/><Relationship Id="rId95" Type="http://schemas.openxmlformats.org/officeDocument/2006/relationships/tags" Target="../tags/tag2097.xml"/><Relationship Id="rId22" Type="http://schemas.openxmlformats.org/officeDocument/2006/relationships/tags" Target="../tags/tag2024.xml"/><Relationship Id="rId27" Type="http://schemas.openxmlformats.org/officeDocument/2006/relationships/tags" Target="../tags/tag2029.xml"/><Relationship Id="rId43" Type="http://schemas.openxmlformats.org/officeDocument/2006/relationships/tags" Target="../tags/tag2045.xml"/><Relationship Id="rId48" Type="http://schemas.openxmlformats.org/officeDocument/2006/relationships/tags" Target="../tags/tag2050.xml"/><Relationship Id="rId64" Type="http://schemas.openxmlformats.org/officeDocument/2006/relationships/tags" Target="../tags/tag2066.xml"/><Relationship Id="rId69" Type="http://schemas.openxmlformats.org/officeDocument/2006/relationships/tags" Target="../tags/tag2071.xml"/><Relationship Id="rId80" Type="http://schemas.openxmlformats.org/officeDocument/2006/relationships/tags" Target="../tags/tag2082.xml"/><Relationship Id="rId85" Type="http://schemas.openxmlformats.org/officeDocument/2006/relationships/tags" Target="../tags/tag2087.xml"/><Relationship Id="rId12" Type="http://schemas.openxmlformats.org/officeDocument/2006/relationships/tags" Target="../tags/tag2014.xml"/><Relationship Id="rId17" Type="http://schemas.openxmlformats.org/officeDocument/2006/relationships/tags" Target="../tags/tag2019.xml"/><Relationship Id="rId25" Type="http://schemas.openxmlformats.org/officeDocument/2006/relationships/tags" Target="../tags/tag2027.xml"/><Relationship Id="rId33" Type="http://schemas.openxmlformats.org/officeDocument/2006/relationships/tags" Target="../tags/tag2035.xml"/><Relationship Id="rId38" Type="http://schemas.openxmlformats.org/officeDocument/2006/relationships/tags" Target="../tags/tag2040.xml"/><Relationship Id="rId46" Type="http://schemas.openxmlformats.org/officeDocument/2006/relationships/tags" Target="../tags/tag2048.xml"/><Relationship Id="rId59" Type="http://schemas.openxmlformats.org/officeDocument/2006/relationships/tags" Target="../tags/tag2061.xml"/><Relationship Id="rId67" Type="http://schemas.openxmlformats.org/officeDocument/2006/relationships/tags" Target="../tags/tag2069.xml"/><Relationship Id="rId20" Type="http://schemas.openxmlformats.org/officeDocument/2006/relationships/tags" Target="../tags/tag2022.xml"/><Relationship Id="rId41" Type="http://schemas.openxmlformats.org/officeDocument/2006/relationships/tags" Target="../tags/tag2043.xml"/><Relationship Id="rId54" Type="http://schemas.openxmlformats.org/officeDocument/2006/relationships/tags" Target="../tags/tag2056.xml"/><Relationship Id="rId62" Type="http://schemas.openxmlformats.org/officeDocument/2006/relationships/tags" Target="../tags/tag2064.xml"/><Relationship Id="rId70" Type="http://schemas.openxmlformats.org/officeDocument/2006/relationships/tags" Target="../tags/tag2072.xml"/><Relationship Id="rId75" Type="http://schemas.openxmlformats.org/officeDocument/2006/relationships/tags" Target="../tags/tag2077.xml"/><Relationship Id="rId83" Type="http://schemas.openxmlformats.org/officeDocument/2006/relationships/tags" Target="../tags/tag2085.xml"/><Relationship Id="rId88" Type="http://schemas.openxmlformats.org/officeDocument/2006/relationships/tags" Target="../tags/tag2090.xml"/><Relationship Id="rId91" Type="http://schemas.openxmlformats.org/officeDocument/2006/relationships/tags" Target="../tags/tag2093.xml"/><Relationship Id="rId96" Type="http://schemas.openxmlformats.org/officeDocument/2006/relationships/tags" Target="../tags/tag2098.xml"/><Relationship Id="rId1" Type="http://schemas.openxmlformats.org/officeDocument/2006/relationships/vmlDrawing" Target="../drawings/vmlDrawing85.vml"/><Relationship Id="rId6" Type="http://schemas.openxmlformats.org/officeDocument/2006/relationships/tags" Target="../tags/tag2008.xml"/><Relationship Id="rId15" Type="http://schemas.openxmlformats.org/officeDocument/2006/relationships/tags" Target="../tags/tag2017.xml"/><Relationship Id="rId23" Type="http://schemas.openxmlformats.org/officeDocument/2006/relationships/tags" Target="../tags/tag2025.xml"/><Relationship Id="rId28" Type="http://schemas.openxmlformats.org/officeDocument/2006/relationships/tags" Target="../tags/tag2030.xml"/><Relationship Id="rId36" Type="http://schemas.openxmlformats.org/officeDocument/2006/relationships/tags" Target="../tags/tag2038.xml"/><Relationship Id="rId49" Type="http://schemas.openxmlformats.org/officeDocument/2006/relationships/tags" Target="../tags/tag2051.xml"/><Relationship Id="rId57" Type="http://schemas.openxmlformats.org/officeDocument/2006/relationships/tags" Target="../tags/tag2059.xml"/><Relationship Id="rId10" Type="http://schemas.openxmlformats.org/officeDocument/2006/relationships/tags" Target="../tags/tag2012.xml"/><Relationship Id="rId31" Type="http://schemas.openxmlformats.org/officeDocument/2006/relationships/tags" Target="../tags/tag2033.xml"/><Relationship Id="rId44" Type="http://schemas.openxmlformats.org/officeDocument/2006/relationships/tags" Target="../tags/tag2046.xml"/><Relationship Id="rId52" Type="http://schemas.openxmlformats.org/officeDocument/2006/relationships/tags" Target="../tags/tag2054.xml"/><Relationship Id="rId60" Type="http://schemas.openxmlformats.org/officeDocument/2006/relationships/tags" Target="../tags/tag2062.xml"/><Relationship Id="rId65" Type="http://schemas.openxmlformats.org/officeDocument/2006/relationships/tags" Target="../tags/tag2067.xml"/><Relationship Id="rId73" Type="http://schemas.openxmlformats.org/officeDocument/2006/relationships/tags" Target="../tags/tag2075.xml"/><Relationship Id="rId78" Type="http://schemas.openxmlformats.org/officeDocument/2006/relationships/tags" Target="../tags/tag2080.xml"/><Relationship Id="rId81" Type="http://schemas.openxmlformats.org/officeDocument/2006/relationships/tags" Target="../tags/tag2083.xml"/><Relationship Id="rId86" Type="http://schemas.openxmlformats.org/officeDocument/2006/relationships/tags" Target="../tags/tag2088.xml"/><Relationship Id="rId94" Type="http://schemas.openxmlformats.org/officeDocument/2006/relationships/tags" Target="../tags/tag2096.xml"/><Relationship Id="rId99" Type="http://schemas.openxmlformats.org/officeDocument/2006/relationships/slideMaster" Target="../slideMasters/slideMaster13.xml"/><Relationship Id="rId101" Type="http://schemas.openxmlformats.org/officeDocument/2006/relationships/image" Target="../media/image12.emf"/><Relationship Id="rId4" Type="http://schemas.openxmlformats.org/officeDocument/2006/relationships/tags" Target="../tags/tag2006.xml"/><Relationship Id="rId9" Type="http://schemas.openxmlformats.org/officeDocument/2006/relationships/tags" Target="../tags/tag2011.xml"/><Relationship Id="rId13" Type="http://schemas.openxmlformats.org/officeDocument/2006/relationships/tags" Target="../tags/tag2015.xml"/><Relationship Id="rId18" Type="http://schemas.openxmlformats.org/officeDocument/2006/relationships/tags" Target="../tags/tag2020.xml"/><Relationship Id="rId39" Type="http://schemas.openxmlformats.org/officeDocument/2006/relationships/tags" Target="../tags/tag2041.xml"/><Relationship Id="rId34" Type="http://schemas.openxmlformats.org/officeDocument/2006/relationships/tags" Target="../tags/tag2036.xml"/><Relationship Id="rId50" Type="http://schemas.openxmlformats.org/officeDocument/2006/relationships/tags" Target="../tags/tag2052.xml"/><Relationship Id="rId55" Type="http://schemas.openxmlformats.org/officeDocument/2006/relationships/tags" Target="../tags/tag2057.xml"/><Relationship Id="rId76" Type="http://schemas.openxmlformats.org/officeDocument/2006/relationships/tags" Target="../tags/tag2078.xml"/><Relationship Id="rId97" Type="http://schemas.openxmlformats.org/officeDocument/2006/relationships/tags" Target="../tags/tag2099.xml"/><Relationship Id="rId7" Type="http://schemas.openxmlformats.org/officeDocument/2006/relationships/tags" Target="../tags/tag2009.xml"/><Relationship Id="rId71" Type="http://schemas.openxmlformats.org/officeDocument/2006/relationships/tags" Target="../tags/tag2073.xml"/><Relationship Id="rId92" Type="http://schemas.openxmlformats.org/officeDocument/2006/relationships/tags" Target="../tags/tag2094.xml"/><Relationship Id="rId2" Type="http://schemas.openxmlformats.org/officeDocument/2006/relationships/tags" Target="../tags/tag2004.xml"/><Relationship Id="rId29" Type="http://schemas.openxmlformats.org/officeDocument/2006/relationships/tags" Target="../tags/tag2031.xml"/><Relationship Id="rId24" Type="http://schemas.openxmlformats.org/officeDocument/2006/relationships/tags" Target="../tags/tag2026.xml"/><Relationship Id="rId40" Type="http://schemas.openxmlformats.org/officeDocument/2006/relationships/tags" Target="../tags/tag2042.xml"/><Relationship Id="rId45" Type="http://schemas.openxmlformats.org/officeDocument/2006/relationships/tags" Target="../tags/tag2047.xml"/><Relationship Id="rId66" Type="http://schemas.openxmlformats.org/officeDocument/2006/relationships/tags" Target="../tags/tag2068.xml"/><Relationship Id="rId87" Type="http://schemas.openxmlformats.org/officeDocument/2006/relationships/tags" Target="../tags/tag2089.xml"/><Relationship Id="rId61" Type="http://schemas.openxmlformats.org/officeDocument/2006/relationships/tags" Target="../tags/tag2063.xml"/><Relationship Id="rId82" Type="http://schemas.openxmlformats.org/officeDocument/2006/relationships/tags" Target="../tags/tag2084.xml"/><Relationship Id="rId19" Type="http://schemas.openxmlformats.org/officeDocument/2006/relationships/tags" Target="../tags/tag2021.xml"/><Relationship Id="rId14" Type="http://schemas.openxmlformats.org/officeDocument/2006/relationships/tags" Target="../tags/tag2016.xml"/><Relationship Id="rId30" Type="http://schemas.openxmlformats.org/officeDocument/2006/relationships/tags" Target="../tags/tag2032.xml"/><Relationship Id="rId35" Type="http://schemas.openxmlformats.org/officeDocument/2006/relationships/tags" Target="../tags/tag2037.xml"/><Relationship Id="rId56" Type="http://schemas.openxmlformats.org/officeDocument/2006/relationships/tags" Target="../tags/tag2058.xml"/><Relationship Id="rId77" Type="http://schemas.openxmlformats.org/officeDocument/2006/relationships/tags" Target="../tags/tag2079.xml"/><Relationship Id="rId100" Type="http://schemas.openxmlformats.org/officeDocument/2006/relationships/oleObject" Target="../embeddings/oleObject85.bin"/><Relationship Id="rId8" Type="http://schemas.openxmlformats.org/officeDocument/2006/relationships/tags" Target="../tags/tag2010.xml"/><Relationship Id="rId51" Type="http://schemas.openxmlformats.org/officeDocument/2006/relationships/tags" Target="../tags/tag2053.xml"/><Relationship Id="rId72" Type="http://schemas.openxmlformats.org/officeDocument/2006/relationships/tags" Target="../tags/tag2074.xml"/><Relationship Id="rId93" Type="http://schemas.openxmlformats.org/officeDocument/2006/relationships/tags" Target="../tags/tag2095.xml"/><Relationship Id="rId98" Type="http://schemas.openxmlformats.org/officeDocument/2006/relationships/tags" Target="../tags/tag2100.xml"/><Relationship Id="rId3" Type="http://schemas.openxmlformats.org/officeDocument/2006/relationships/tags" Target="../tags/tag2005.xml"/></Relationships>
</file>

<file path=ppt/slideLayouts/_rels/slideLayout84.xml.rels><?xml version="1.0" encoding="UTF-8" standalone="yes"?>
<Relationships xmlns="http://schemas.openxmlformats.org/package/2006/relationships"><Relationship Id="rId26" Type="http://schemas.openxmlformats.org/officeDocument/2006/relationships/tags" Target="../tags/tag2125.xml"/><Relationship Id="rId21" Type="http://schemas.openxmlformats.org/officeDocument/2006/relationships/tags" Target="../tags/tag2120.xml"/><Relationship Id="rId42" Type="http://schemas.openxmlformats.org/officeDocument/2006/relationships/tags" Target="../tags/tag2141.xml"/><Relationship Id="rId47" Type="http://schemas.openxmlformats.org/officeDocument/2006/relationships/tags" Target="../tags/tag2146.xml"/><Relationship Id="rId63" Type="http://schemas.openxmlformats.org/officeDocument/2006/relationships/tags" Target="../tags/tag2162.xml"/><Relationship Id="rId68" Type="http://schemas.openxmlformats.org/officeDocument/2006/relationships/tags" Target="../tags/tag2167.xml"/><Relationship Id="rId84" Type="http://schemas.openxmlformats.org/officeDocument/2006/relationships/tags" Target="../tags/tag2183.xml"/><Relationship Id="rId89" Type="http://schemas.openxmlformats.org/officeDocument/2006/relationships/tags" Target="../tags/tag2188.xml"/><Relationship Id="rId16" Type="http://schemas.openxmlformats.org/officeDocument/2006/relationships/tags" Target="../tags/tag2115.xml"/><Relationship Id="rId11" Type="http://schemas.openxmlformats.org/officeDocument/2006/relationships/tags" Target="../tags/tag2110.xml"/><Relationship Id="rId32" Type="http://schemas.openxmlformats.org/officeDocument/2006/relationships/tags" Target="../tags/tag2131.xml"/><Relationship Id="rId37" Type="http://schemas.openxmlformats.org/officeDocument/2006/relationships/tags" Target="../tags/tag2136.xml"/><Relationship Id="rId53" Type="http://schemas.openxmlformats.org/officeDocument/2006/relationships/tags" Target="../tags/tag2152.xml"/><Relationship Id="rId58" Type="http://schemas.openxmlformats.org/officeDocument/2006/relationships/tags" Target="../tags/tag2157.xml"/><Relationship Id="rId74" Type="http://schemas.openxmlformats.org/officeDocument/2006/relationships/tags" Target="../tags/tag2173.xml"/><Relationship Id="rId79" Type="http://schemas.openxmlformats.org/officeDocument/2006/relationships/tags" Target="../tags/tag2178.xml"/><Relationship Id="rId102" Type="http://schemas.openxmlformats.org/officeDocument/2006/relationships/oleObject" Target="../embeddings/oleObject86.bin"/><Relationship Id="rId5" Type="http://schemas.openxmlformats.org/officeDocument/2006/relationships/tags" Target="../tags/tag2104.xml"/><Relationship Id="rId90" Type="http://schemas.openxmlformats.org/officeDocument/2006/relationships/tags" Target="../tags/tag2189.xml"/><Relationship Id="rId95" Type="http://schemas.openxmlformats.org/officeDocument/2006/relationships/tags" Target="../tags/tag2194.xml"/><Relationship Id="rId22" Type="http://schemas.openxmlformats.org/officeDocument/2006/relationships/tags" Target="../tags/tag2121.xml"/><Relationship Id="rId27" Type="http://schemas.openxmlformats.org/officeDocument/2006/relationships/tags" Target="../tags/tag2126.xml"/><Relationship Id="rId43" Type="http://schemas.openxmlformats.org/officeDocument/2006/relationships/tags" Target="../tags/tag2142.xml"/><Relationship Id="rId48" Type="http://schemas.openxmlformats.org/officeDocument/2006/relationships/tags" Target="../tags/tag2147.xml"/><Relationship Id="rId64" Type="http://schemas.openxmlformats.org/officeDocument/2006/relationships/tags" Target="../tags/tag2163.xml"/><Relationship Id="rId69" Type="http://schemas.openxmlformats.org/officeDocument/2006/relationships/tags" Target="../tags/tag2168.xml"/><Relationship Id="rId80" Type="http://schemas.openxmlformats.org/officeDocument/2006/relationships/tags" Target="../tags/tag2179.xml"/><Relationship Id="rId85" Type="http://schemas.openxmlformats.org/officeDocument/2006/relationships/tags" Target="../tags/tag2184.xml"/><Relationship Id="rId12" Type="http://schemas.openxmlformats.org/officeDocument/2006/relationships/tags" Target="../tags/tag2111.xml"/><Relationship Id="rId17" Type="http://schemas.openxmlformats.org/officeDocument/2006/relationships/tags" Target="../tags/tag2116.xml"/><Relationship Id="rId25" Type="http://schemas.openxmlformats.org/officeDocument/2006/relationships/tags" Target="../tags/tag2124.xml"/><Relationship Id="rId33" Type="http://schemas.openxmlformats.org/officeDocument/2006/relationships/tags" Target="../tags/tag2132.xml"/><Relationship Id="rId38" Type="http://schemas.openxmlformats.org/officeDocument/2006/relationships/tags" Target="../tags/tag2137.xml"/><Relationship Id="rId46" Type="http://schemas.openxmlformats.org/officeDocument/2006/relationships/tags" Target="../tags/tag2145.xml"/><Relationship Id="rId59" Type="http://schemas.openxmlformats.org/officeDocument/2006/relationships/tags" Target="../tags/tag2158.xml"/><Relationship Id="rId67" Type="http://schemas.openxmlformats.org/officeDocument/2006/relationships/tags" Target="../tags/tag2166.xml"/><Relationship Id="rId103" Type="http://schemas.openxmlformats.org/officeDocument/2006/relationships/image" Target="../media/image12.emf"/><Relationship Id="rId20" Type="http://schemas.openxmlformats.org/officeDocument/2006/relationships/tags" Target="../tags/tag2119.xml"/><Relationship Id="rId41" Type="http://schemas.openxmlformats.org/officeDocument/2006/relationships/tags" Target="../tags/tag2140.xml"/><Relationship Id="rId54" Type="http://schemas.openxmlformats.org/officeDocument/2006/relationships/tags" Target="../tags/tag2153.xml"/><Relationship Id="rId62" Type="http://schemas.openxmlformats.org/officeDocument/2006/relationships/tags" Target="../tags/tag2161.xml"/><Relationship Id="rId70" Type="http://schemas.openxmlformats.org/officeDocument/2006/relationships/tags" Target="../tags/tag2169.xml"/><Relationship Id="rId75" Type="http://schemas.openxmlformats.org/officeDocument/2006/relationships/tags" Target="../tags/tag2174.xml"/><Relationship Id="rId83" Type="http://schemas.openxmlformats.org/officeDocument/2006/relationships/tags" Target="../tags/tag2182.xml"/><Relationship Id="rId88" Type="http://schemas.openxmlformats.org/officeDocument/2006/relationships/tags" Target="../tags/tag2187.xml"/><Relationship Id="rId91" Type="http://schemas.openxmlformats.org/officeDocument/2006/relationships/tags" Target="../tags/tag2190.xml"/><Relationship Id="rId96" Type="http://schemas.openxmlformats.org/officeDocument/2006/relationships/tags" Target="../tags/tag2195.xml"/><Relationship Id="rId1" Type="http://schemas.openxmlformats.org/officeDocument/2006/relationships/vmlDrawing" Target="../drawings/vmlDrawing86.vml"/><Relationship Id="rId6" Type="http://schemas.openxmlformats.org/officeDocument/2006/relationships/tags" Target="../tags/tag2105.xml"/><Relationship Id="rId15" Type="http://schemas.openxmlformats.org/officeDocument/2006/relationships/tags" Target="../tags/tag2114.xml"/><Relationship Id="rId23" Type="http://schemas.openxmlformats.org/officeDocument/2006/relationships/tags" Target="../tags/tag2122.xml"/><Relationship Id="rId28" Type="http://schemas.openxmlformats.org/officeDocument/2006/relationships/tags" Target="../tags/tag2127.xml"/><Relationship Id="rId36" Type="http://schemas.openxmlformats.org/officeDocument/2006/relationships/tags" Target="../tags/tag2135.xml"/><Relationship Id="rId49" Type="http://schemas.openxmlformats.org/officeDocument/2006/relationships/tags" Target="../tags/tag2148.xml"/><Relationship Id="rId57" Type="http://schemas.openxmlformats.org/officeDocument/2006/relationships/tags" Target="../tags/tag2156.xml"/><Relationship Id="rId10" Type="http://schemas.openxmlformats.org/officeDocument/2006/relationships/tags" Target="../tags/tag2109.xml"/><Relationship Id="rId31" Type="http://schemas.openxmlformats.org/officeDocument/2006/relationships/tags" Target="../tags/tag2130.xml"/><Relationship Id="rId44" Type="http://schemas.openxmlformats.org/officeDocument/2006/relationships/tags" Target="../tags/tag2143.xml"/><Relationship Id="rId52" Type="http://schemas.openxmlformats.org/officeDocument/2006/relationships/tags" Target="../tags/tag2151.xml"/><Relationship Id="rId60" Type="http://schemas.openxmlformats.org/officeDocument/2006/relationships/tags" Target="../tags/tag2159.xml"/><Relationship Id="rId65" Type="http://schemas.openxmlformats.org/officeDocument/2006/relationships/tags" Target="../tags/tag2164.xml"/><Relationship Id="rId73" Type="http://schemas.openxmlformats.org/officeDocument/2006/relationships/tags" Target="../tags/tag2172.xml"/><Relationship Id="rId78" Type="http://schemas.openxmlformats.org/officeDocument/2006/relationships/tags" Target="../tags/tag2177.xml"/><Relationship Id="rId81" Type="http://schemas.openxmlformats.org/officeDocument/2006/relationships/tags" Target="../tags/tag2180.xml"/><Relationship Id="rId86" Type="http://schemas.openxmlformats.org/officeDocument/2006/relationships/tags" Target="../tags/tag2185.xml"/><Relationship Id="rId94" Type="http://schemas.openxmlformats.org/officeDocument/2006/relationships/tags" Target="../tags/tag2193.xml"/><Relationship Id="rId99" Type="http://schemas.openxmlformats.org/officeDocument/2006/relationships/tags" Target="../tags/tag2198.xml"/><Relationship Id="rId101" Type="http://schemas.openxmlformats.org/officeDocument/2006/relationships/slideMaster" Target="../slideMasters/slideMaster13.xml"/><Relationship Id="rId4" Type="http://schemas.openxmlformats.org/officeDocument/2006/relationships/tags" Target="../tags/tag2103.xml"/><Relationship Id="rId9" Type="http://schemas.openxmlformats.org/officeDocument/2006/relationships/tags" Target="../tags/tag2108.xml"/><Relationship Id="rId13" Type="http://schemas.openxmlformats.org/officeDocument/2006/relationships/tags" Target="../tags/tag2112.xml"/><Relationship Id="rId18" Type="http://schemas.openxmlformats.org/officeDocument/2006/relationships/tags" Target="../tags/tag2117.xml"/><Relationship Id="rId39" Type="http://schemas.openxmlformats.org/officeDocument/2006/relationships/tags" Target="../tags/tag2138.xml"/><Relationship Id="rId34" Type="http://schemas.openxmlformats.org/officeDocument/2006/relationships/tags" Target="../tags/tag2133.xml"/><Relationship Id="rId50" Type="http://schemas.openxmlformats.org/officeDocument/2006/relationships/tags" Target="../tags/tag2149.xml"/><Relationship Id="rId55" Type="http://schemas.openxmlformats.org/officeDocument/2006/relationships/tags" Target="../tags/tag2154.xml"/><Relationship Id="rId76" Type="http://schemas.openxmlformats.org/officeDocument/2006/relationships/tags" Target="../tags/tag2175.xml"/><Relationship Id="rId97" Type="http://schemas.openxmlformats.org/officeDocument/2006/relationships/tags" Target="../tags/tag2196.xml"/><Relationship Id="rId7" Type="http://schemas.openxmlformats.org/officeDocument/2006/relationships/tags" Target="../tags/tag2106.xml"/><Relationship Id="rId71" Type="http://schemas.openxmlformats.org/officeDocument/2006/relationships/tags" Target="../tags/tag2170.xml"/><Relationship Id="rId92" Type="http://schemas.openxmlformats.org/officeDocument/2006/relationships/tags" Target="../tags/tag2191.xml"/><Relationship Id="rId2" Type="http://schemas.openxmlformats.org/officeDocument/2006/relationships/tags" Target="../tags/tag2101.xml"/><Relationship Id="rId29" Type="http://schemas.openxmlformats.org/officeDocument/2006/relationships/tags" Target="../tags/tag2128.xml"/><Relationship Id="rId24" Type="http://schemas.openxmlformats.org/officeDocument/2006/relationships/tags" Target="../tags/tag2123.xml"/><Relationship Id="rId40" Type="http://schemas.openxmlformats.org/officeDocument/2006/relationships/tags" Target="../tags/tag2139.xml"/><Relationship Id="rId45" Type="http://schemas.openxmlformats.org/officeDocument/2006/relationships/tags" Target="../tags/tag2144.xml"/><Relationship Id="rId66" Type="http://schemas.openxmlformats.org/officeDocument/2006/relationships/tags" Target="../tags/tag2165.xml"/><Relationship Id="rId87" Type="http://schemas.openxmlformats.org/officeDocument/2006/relationships/tags" Target="../tags/tag2186.xml"/><Relationship Id="rId61" Type="http://schemas.openxmlformats.org/officeDocument/2006/relationships/tags" Target="../tags/tag2160.xml"/><Relationship Id="rId82" Type="http://schemas.openxmlformats.org/officeDocument/2006/relationships/tags" Target="../tags/tag2181.xml"/><Relationship Id="rId19" Type="http://schemas.openxmlformats.org/officeDocument/2006/relationships/tags" Target="../tags/tag2118.xml"/><Relationship Id="rId14" Type="http://schemas.openxmlformats.org/officeDocument/2006/relationships/tags" Target="../tags/tag2113.xml"/><Relationship Id="rId30" Type="http://schemas.openxmlformats.org/officeDocument/2006/relationships/tags" Target="../tags/tag2129.xml"/><Relationship Id="rId35" Type="http://schemas.openxmlformats.org/officeDocument/2006/relationships/tags" Target="../tags/tag2134.xml"/><Relationship Id="rId56" Type="http://schemas.openxmlformats.org/officeDocument/2006/relationships/tags" Target="../tags/tag2155.xml"/><Relationship Id="rId77" Type="http://schemas.openxmlformats.org/officeDocument/2006/relationships/tags" Target="../tags/tag2176.xml"/><Relationship Id="rId100" Type="http://schemas.openxmlformats.org/officeDocument/2006/relationships/tags" Target="../tags/tag2199.xml"/><Relationship Id="rId8" Type="http://schemas.openxmlformats.org/officeDocument/2006/relationships/tags" Target="../tags/tag2107.xml"/><Relationship Id="rId51" Type="http://schemas.openxmlformats.org/officeDocument/2006/relationships/tags" Target="../tags/tag2150.xml"/><Relationship Id="rId72" Type="http://schemas.openxmlformats.org/officeDocument/2006/relationships/tags" Target="../tags/tag2171.xml"/><Relationship Id="rId93" Type="http://schemas.openxmlformats.org/officeDocument/2006/relationships/tags" Target="../tags/tag2192.xml"/><Relationship Id="rId98" Type="http://schemas.openxmlformats.org/officeDocument/2006/relationships/tags" Target="../tags/tag2197.xml"/><Relationship Id="rId3" Type="http://schemas.openxmlformats.org/officeDocument/2006/relationships/tags" Target="../tags/tag2102.xml"/></Relationships>
</file>

<file path=ppt/slideLayouts/_rels/slideLayout85.xml.rels><?xml version="1.0" encoding="UTF-8" standalone="yes"?>
<Relationships xmlns="http://schemas.openxmlformats.org/package/2006/relationships"><Relationship Id="rId26" Type="http://schemas.openxmlformats.org/officeDocument/2006/relationships/tags" Target="../tags/tag2224.xml"/><Relationship Id="rId21" Type="http://schemas.openxmlformats.org/officeDocument/2006/relationships/tags" Target="../tags/tag2219.xml"/><Relationship Id="rId42" Type="http://schemas.openxmlformats.org/officeDocument/2006/relationships/tags" Target="../tags/tag2240.xml"/><Relationship Id="rId47" Type="http://schemas.openxmlformats.org/officeDocument/2006/relationships/tags" Target="../tags/tag2245.xml"/><Relationship Id="rId63" Type="http://schemas.openxmlformats.org/officeDocument/2006/relationships/tags" Target="../tags/tag2261.xml"/><Relationship Id="rId68" Type="http://schemas.openxmlformats.org/officeDocument/2006/relationships/tags" Target="../tags/tag2266.xml"/><Relationship Id="rId84" Type="http://schemas.openxmlformats.org/officeDocument/2006/relationships/tags" Target="../tags/tag2282.xml"/><Relationship Id="rId89" Type="http://schemas.openxmlformats.org/officeDocument/2006/relationships/tags" Target="../tags/tag2287.xml"/><Relationship Id="rId16" Type="http://schemas.openxmlformats.org/officeDocument/2006/relationships/tags" Target="../tags/tag2214.xml"/><Relationship Id="rId11" Type="http://schemas.openxmlformats.org/officeDocument/2006/relationships/tags" Target="../tags/tag2209.xml"/><Relationship Id="rId32" Type="http://schemas.openxmlformats.org/officeDocument/2006/relationships/tags" Target="../tags/tag2230.xml"/><Relationship Id="rId37" Type="http://schemas.openxmlformats.org/officeDocument/2006/relationships/tags" Target="../tags/tag2235.xml"/><Relationship Id="rId53" Type="http://schemas.openxmlformats.org/officeDocument/2006/relationships/tags" Target="../tags/tag2251.xml"/><Relationship Id="rId58" Type="http://schemas.openxmlformats.org/officeDocument/2006/relationships/tags" Target="../tags/tag2256.xml"/><Relationship Id="rId74" Type="http://schemas.openxmlformats.org/officeDocument/2006/relationships/tags" Target="../tags/tag2272.xml"/><Relationship Id="rId79" Type="http://schemas.openxmlformats.org/officeDocument/2006/relationships/tags" Target="../tags/tag2277.xml"/><Relationship Id="rId102" Type="http://schemas.openxmlformats.org/officeDocument/2006/relationships/oleObject" Target="../embeddings/oleObject87.bin"/><Relationship Id="rId5" Type="http://schemas.openxmlformats.org/officeDocument/2006/relationships/tags" Target="../tags/tag2203.xml"/><Relationship Id="rId90" Type="http://schemas.openxmlformats.org/officeDocument/2006/relationships/tags" Target="../tags/tag2288.xml"/><Relationship Id="rId95" Type="http://schemas.openxmlformats.org/officeDocument/2006/relationships/tags" Target="../tags/tag2293.xml"/><Relationship Id="rId22" Type="http://schemas.openxmlformats.org/officeDocument/2006/relationships/tags" Target="../tags/tag2220.xml"/><Relationship Id="rId27" Type="http://schemas.openxmlformats.org/officeDocument/2006/relationships/tags" Target="../tags/tag2225.xml"/><Relationship Id="rId43" Type="http://schemas.openxmlformats.org/officeDocument/2006/relationships/tags" Target="../tags/tag2241.xml"/><Relationship Id="rId48" Type="http://schemas.openxmlformats.org/officeDocument/2006/relationships/tags" Target="../tags/tag2246.xml"/><Relationship Id="rId64" Type="http://schemas.openxmlformats.org/officeDocument/2006/relationships/tags" Target="../tags/tag2262.xml"/><Relationship Id="rId69" Type="http://schemas.openxmlformats.org/officeDocument/2006/relationships/tags" Target="../tags/tag2267.xml"/><Relationship Id="rId80" Type="http://schemas.openxmlformats.org/officeDocument/2006/relationships/tags" Target="../tags/tag2278.xml"/><Relationship Id="rId85" Type="http://schemas.openxmlformats.org/officeDocument/2006/relationships/tags" Target="../tags/tag2283.xml"/><Relationship Id="rId12" Type="http://schemas.openxmlformats.org/officeDocument/2006/relationships/tags" Target="../tags/tag2210.xml"/><Relationship Id="rId17" Type="http://schemas.openxmlformats.org/officeDocument/2006/relationships/tags" Target="../tags/tag2215.xml"/><Relationship Id="rId25" Type="http://schemas.openxmlformats.org/officeDocument/2006/relationships/tags" Target="../tags/tag2223.xml"/><Relationship Id="rId33" Type="http://schemas.openxmlformats.org/officeDocument/2006/relationships/tags" Target="../tags/tag2231.xml"/><Relationship Id="rId38" Type="http://schemas.openxmlformats.org/officeDocument/2006/relationships/tags" Target="../tags/tag2236.xml"/><Relationship Id="rId46" Type="http://schemas.openxmlformats.org/officeDocument/2006/relationships/tags" Target="../tags/tag2244.xml"/><Relationship Id="rId59" Type="http://schemas.openxmlformats.org/officeDocument/2006/relationships/tags" Target="../tags/tag2257.xml"/><Relationship Id="rId67" Type="http://schemas.openxmlformats.org/officeDocument/2006/relationships/tags" Target="../tags/tag2265.xml"/><Relationship Id="rId103" Type="http://schemas.openxmlformats.org/officeDocument/2006/relationships/image" Target="../media/image12.emf"/><Relationship Id="rId20" Type="http://schemas.openxmlformats.org/officeDocument/2006/relationships/tags" Target="../tags/tag2218.xml"/><Relationship Id="rId41" Type="http://schemas.openxmlformats.org/officeDocument/2006/relationships/tags" Target="../tags/tag2239.xml"/><Relationship Id="rId54" Type="http://schemas.openxmlformats.org/officeDocument/2006/relationships/tags" Target="../tags/tag2252.xml"/><Relationship Id="rId62" Type="http://schemas.openxmlformats.org/officeDocument/2006/relationships/tags" Target="../tags/tag2260.xml"/><Relationship Id="rId70" Type="http://schemas.openxmlformats.org/officeDocument/2006/relationships/tags" Target="../tags/tag2268.xml"/><Relationship Id="rId75" Type="http://schemas.openxmlformats.org/officeDocument/2006/relationships/tags" Target="../tags/tag2273.xml"/><Relationship Id="rId83" Type="http://schemas.openxmlformats.org/officeDocument/2006/relationships/tags" Target="../tags/tag2281.xml"/><Relationship Id="rId88" Type="http://schemas.openxmlformats.org/officeDocument/2006/relationships/tags" Target="../tags/tag2286.xml"/><Relationship Id="rId91" Type="http://schemas.openxmlformats.org/officeDocument/2006/relationships/tags" Target="../tags/tag2289.xml"/><Relationship Id="rId96" Type="http://schemas.openxmlformats.org/officeDocument/2006/relationships/tags" Target="../tags/tag2294.xml"/><Relationship Id="rId1" Type="http://schemas.openxmlformats.org/officeDocument/2006/relationships/vmlDrawing" Target="../drawings/vmlDrawing87.vml"/><Relationship Id="rId6" Type="http://schemas.openxmlformats.org/officeDocument/2006/relationships/tags" Target="../tags/tag2204.xml"/><Relationship Id="rId15" Type="http://schemas.openxmlformats.org/officeDocument/2006/relationships/tags" Target="../tags/tag2213.xml"/><Relationship Id="rId23" Type="http://schemas.openxmlformats.org/officeDocument/2006/relationships/tags" Target="../tags/tag2221.xml"/><Relationship Id="rId28" Type="http://schemas.openxmlformats.org/officeDocument/2006/relationships/tags" Target="../tags/tag2226.xml"/><Relationship Id="rId36" Type="http://schemas.openxmlformats.org/officeDocument/2006/relationships/tags" Target="../tags/tag2234.xml"/><Relationship Id="rId49" Type="http://schemas.openxmlformats.org/officeDocument/2006/relationships/tags" Target="../tags/tag2247.xml"/><Relationship Id="rId57" Type="http://schemas.openxmlformats.org/officeDocument/2006/relationships/tags" Target="../tags/tag2255.xml"/><Relationship Id="rId10" Type="http://schemas.openxmlformats.org/officeDocument/2006/relationships/tags" Target="../tags/tag2208.xml"/><Relationship Id="rId31" Type="http://schemas.openxmlformats.org/officeDocument/2006/relationships/tags" Target="../tags/tag2229.xml"/><Relationship Id="rId44" Type="http://schemas.openxmlformats.org/officeDocument/2006/relationships/tags" Target="../tags/tag2242.xml"/><Relationship Id="rId52" Type="http://schemas.openxmlformats.org/officeDocument/2006/relationships/tags" Target="../tags/tag2250.xml"/><Relationship Id="rId60" Type="http://schemas.openxmlformats.org/officeDocument/2006/relationships/tags" Target="../tags/tag2258.xml"/><Relationship Id="rId65" Type="http://schemas.openxmlformats.org/officeDocument/2006/relationships/tags" Target="../tags/tag2263.xml"/><Relationship Id="rId73" Type="http://schemas.openxmlformats.org/officeDocument/2006/relationships/tags" Target="../tags/tag2271.xml"/><Relationship Id="rId78" Type="http://schemas.openxmlformats.org/officeDocument/2006/relationships/tags" Target="../tags/tag2276.xml"/><Relationship Id="rId81" Type="http://schemas.openxmlformats.org/officeDocument/2006/relationships/tags" Target="../tags/tag2279.xml"/><Relationship Id="rId86" Type="http://schemas.openxmlformats.org/officeDocument/2006/relationships/tags" Target="../tags/tag2284.xml"/><Relationship Id="rId94" Type="http://schemas.openxmlformats.org/officeDocument/2006/relationships/tags" Target="../tags/tag2292.xml"/><Relationship Id="rId99" Type="http://schemas.openxmlformats.org/officeDocument/2006/relationships/tags" Target="../tags/tag2297.xml"/><Relationship Id="rId101" Type="http://schemas.openxmlformats.org/officeDocument/2006/relationships/slideMaster" Target="../slideMasters/slideMaster13.xml"/><Relationship Id="rId4" Type="http://schemas.openxmlformats.org/officeDocument/2006/relationships/tags" Target="../tags/tag2202.xml"/><Relationship Id="rId9" Type="http://schemas.openxmlformats.org/officeDocument/2006/relationships/tags" Target="../tags/tag2207.xml"/><Relationship Id="rId13" Type="http://schemas.openxmlformats.org/officeDocument/2006/relationships/tags" Target="../tags/tag2211.xml"/><Relationship Id="rId18" Type="http://schemas.openxmlformats.org/officeDocument/2006/relationships/tags" Target="../tags/tag2216.xml"/><Relationship Id="rId39" Type="http://schemas.openxmlformats.org/officeDocument/2006/relationships/tags" Target="../tags/tag2237.xml"/><Relationship Id="rId34" Type="http://schemas.openxmlformats.org/officeDocument/2006/relationships/tags" Target="../tags/tag2232.xml"/><Relationship Id="rId50" Type="http://schemas.openxmlformats.org/officeDocument/2006/relationships/tags" Target="../tags/tag2248.xml"/><Relationship Id="rId55" Type="http://schemas.openxmlformats.org/officeDocument/2006/relationships/tags" Target="../tags/tag2253.xml"/><Relationship Id="rId76" Type="http://schemas.openxmlformats.org/officeDocument/2006/relationships/tags" Target="../tags/tag2274.xml"/><Relationship Id="rId97" Type="http://schemas.openxmlformats.org/officeDocument/2006/relationships/tags" Target="../tags/tag2295.xml"/><Relationship Id="rId7" Type="http://schemas.openxmlformats.org/officeDocument/2006/relationships/tags" Target="../tags/tag2205.xml"/><Relationship Id="rId71" Type="http://schemas.openxmlformats.org/officeDocument/2006/relationships/tags" Target="../tags/tag2269.xml"/><Relationship Id="rId92" Type="http://schemas.openxmlformats.org/officeDocument/2006/relationships/tags" Target="../tags/tag2290.xml"/><Relationship Id="rId2" Type="http://schemas.openxmlformats.org/officeDocument/2006/relationships/tags" Target="../tags/tag2200.xml"/><Relationship Id="rId29" Type="http://schemas.openxmlformats.org/officeDocument/2006/relationships/tags" Target="../tags/tag2227.xml"/><Relationship Id="rId24" Type="http://schemas.openxmlformats.org/officeDocument/2006/relationships/tags" Target="../tags/tag2222.xml"/><Relationship Id="rId40" Type="http://schemas.openxmlformats.org/officeDocument/2006/relationships/tags" Target="../tags/tag2238.xml"/><Relationship Id="rId45" Type="http://schemas.openxmlformats.org/officeDocument/2006/relationships/tags" Target="../tags/tag2243.xml"/><Relationship Id="rId66" Type="http://schemas.openxmlformats.org/officeDocument/2006/relationships/tags" Target="../tags/tag2264.xml"/><Relationship Id="rId87" Type="http://schemas.openxmlformats.org/officeDocument/2006/relationships/tags" Target="../tags/tag2285.xml"/><Relationship Id="rId61" Type="http://schemas.openxmlformats.org/officeDocument/2006/relationships/tags" Target="../tags/tag2259.xml"/><Relationship Id="rId82" Type="http://schemas.openxmlformats.org/officeDocument/2006/relationships/tags" Target="../tags/tag2280.xml"/><Relationship Id="rId19" Type="http://schemas.openxmlformats.org/officeDocument/2006/relationships/tags" Target="../tags/tag2217.xml"/><Relationship Id="rId14" Type="http://schemas.openxmlformats.org/officeDocument/2006/relationships/tags" Target="../tags/tag2212.xml"/><Relationship Id="rId30" Type="http://schemas.openxmlformats.org/officeDocument/2006/relationships/tags" Target="../tags/tag2228.xml"/><Relationship Id="rId35" Type="http://schemas.openxmlformats.org/officeDocument/2006/relationships/tags" Target="../tags/tag2233.xml"/><Relationship Id="rId56" Type="http://schemas.openxmlformats.org/officeDocument/2006/relationships/tags" Target="../tags/tag2254.xml"/><Relationship Id="rId77" Type="http://schemas.openxmlformats.org/officeDocument/2006/relationships/tags" Target="../tags/tag2275.xml"/><Relationship Id="rId100" Type="http://schemas.openxmlformats.org/officeDocument/2006/relationships/tags" Target="../tags/tag2298.xml"/><Relationship Id="rId8" Type="http://schemas.openxmlformats.org/officeDocument/2006/relationships/tags" Target="../tags/tag2206.xml"/><Relationship Id="rId51" Type="http://schemas.openxmlformats.org/officeDocument/2006/relationships/tags" Target="../tags/tag2249.xml"/><Relationship Id="rId72" Type="http://schemas.openxmlformats.org/officeDocument/2006/relationships/tags" Target="../tags/tag2270.xml"/><Relationship Id="rId93" Type="http://schemas.openxmlformats.org/officeDocument/2006/relationships/tags" Target="../tags/tag2291.xml"/><Relationship Id="rId98" Type="http://schemas.openxmlformats.org/officeDocument/2006/relationships/tags" Target="../tags/tag2296.xml"/><Relationship Id="rId3" Type="http://schemas.openxmlformats.org/officeDocument/2006/relationships/tags" Target="../tags/tag2201.xml"/></Relationships>
</file>

<file path=ppt/slideLayouts/_rels/slideLayout86.xml.rels><?xml version="1.0" encoding="UTF-8" standalone="yes"?>
<Relationships xmlns="http://schemas.openxmlformats.org/package/2006/relationships"><Relationship Id="rId26" Type="http://schemas.openxmlformats.org/officeDocument/2006/relationships/tags" Target="../tags/tag2323.xml"/><Relationship Id="rId21" Type="http://schemas.openxmlformats.org/officeDocument/2006/relationships/tags" Target="../tags/tag2318.xml"/><Relationship Id="rId42" Type="http://schemas.openxmlformats.org/officeDocument/2006/relationships/tags" Target="../tags/tag2339.xml"/><Relationship Id="rId47" Type="http://schemas.openxmlformats.org/officeDocument/2006/relationships/tags" Target="../tags/tag2344.xml"/><Relationship Id="rId63" Type="http://schemas.openxmlformats.org/officeDocument/2006/relationships/tags" Target="../tags/tag2360.xml"/><Relationship Id="rId68" Type="http://schemas.openxmlformats.org/officeDocument/2006/relationships/tags" Target="../tags/tag2365.xml"/><Relationship Id="rId84" Type="http://schemas.openxmlformats.org/officeDocument/2006/relationships/tags" Target="../tags/tag2381.xml"/><Relationship Id="rId89" Type="http://schemas.openxmlformats.org/officeDocument/2006/relationships/tags" Target="../tags/tag2386.xml"/><Relationship Id="rId16" Type="http://schemas.openxmlformats.org/officeDocument/2006/relationships/tags" Target="../tags/tag2313.xml"/><Relationship Id="rId11" Type="http://schemas.openxmlformats.org/officeDocument/2006/relationships/tags" Target="../tags/tag2308.xml"/><Relationship Id="rId32" Type="http://schemas.openxmlformats.org/officeDocument/2006/relationships/tags" Target="../tags/tag2329.xml"/><Relationship Id="rId37" Type="http://schemas.openxmlformats.org/officeDocument/2006/relationships/tags" Target="../tags/tag2334.xml"/><Relationship Id="rId53" Type="http://schemas.openxmlformats.org/officeDocument/2006/relationships/tags" Target="../tags/tag2350.xml"/><Relationship Id="rId58" Type="http://schemas.openxmlformats.org/officeDocument/2006/relationships/tags" Target="../tags/tag2355.xml"/><Relationship Id="rId74" Type="http://schemas.openxmlformats.org/officeDocument/2006/relationships/tags" Target="../tags/tag2371.xml"/><Relationship Id="rId79" Type="http://schemas.openxmlformats.org/officeDocument/2006/relationships/tags" Target="../tags/tag2376.xml"/><Relationship Id="rId102" Type="http://schemas.openxmlformats.org/officeDocument/2006/relationships/slideMaster" Target="../slideMasters/slideMaster13.xml"/><Relationship Id="rId5" Type="http://schemas.openxmlformats.org/officeDocument/2006/relationships/tags" Target="../tags/tag2302.xml"/><Relationship Id="rId90" Type="http://schemas.openxmlformats.org/officeDocument/2006/relationships/tags" Target="../tags/tag2387.xml"/><Relationship Id="rId95" Type="http://schemas.openxmlformats.org/officeDocument/2006/relationships/tags" Target="../tags/tag2392.xml"/><Relationship Id="rId22" Type="http://schemas.openxmlformats.org/officeDocument/2006/relationships/tags" Target="../tags/tag2319.xml"/><Relationship Id="rId27" Type="http://schemas.openxmlformats.org/officeDocument/2006/relationships/tags" Target="../tags/tag2324.xml"/><Relationship Id="rId43" Type="http://schemas.openxmlformats.org/officeDocument/2006/relationships/tags" Target="../tags/tag2340.xml"/><Relationship Id="rId48" Type="http://schemas.openxmlformats.org/officeDocument/2006/relationships/tags" Target="../tags/tag2345.xml"/><Relationship Id="rId64" Type="http://schemas.openxmlformats.org/officeDocument/2006/relationships/tags" Target="../tags/tag2361.xml"/><Relationship Id="rId69" Type="http://schemas.openxmlformats.org/officeDocument/2006/relationships/tags" Target="../tags/tag2366.xml"/><Relationship Id="rId80" Type="http://schemas.openxmlformats.org/officeDocument/2006/relationships/tags" Target="../tags/tag2377.xml"/><Relationship Id="rId85" Type="http://schemas.openxmlformats.org/officeDocument/2006/relationships/tags" Target="../tags/tag2382.xml"/><Relationship Id="rId12" Type="http://schemas.openxmlformats.org/officeDocument/2006/relationships/tags" Target="../tags/tag2309.xml"/><Relationship Id="rId17" Type="http://schemas.openxmlformats.org/officeDocument/2006/relationships/tags" Target="../tags/tag2314.xml"/><Relationship Id="rId25" Type="http://schemas.openxmlformats.org/officeDocument/2006/relationships/tags" Target="../tags/tag2322.xml"/><Relationship Id="rId33" Type="http://schemas.openxmlformats.org/officeDocument/2006/relationships/tags" Target="../tags/tag2330.xml"/><Relationship Id="rId38" Type="http://schemas.openxmlformats.org/officeDocument/2006/relationships/tags" Target="../tags/tag2335.xml"/><Relationship Id="rId46" Type="http://schemas.openxmlformats.org/officeDocument/2006/relationships/tags" Target="../tags/tag2343.xml"/><Relationship Id="rId59" Type="http://schemas.openxmlformats.org/officeDocument/2006/relationships/tags" Target="../tags/tag2356.xml"/><Relationship Id="rId67" Type="http://schemas.openxmlformats.org/officeDocument/2006/relationships/tags" Target="../tags/tag2364.xml"/><Relationship Id="rId103" Type="http://schemas.openxmlformats.org/officeDocument/2006/relationships/oleObject" Target="../embeddings/oleObject88.bin"/><Relationship Id="rId20" Type="http://schemas.openxmlformats.org/officeDocument/2006/relationships/tags" Target="../tags/tag2317.xml"/><Relationship Id="rId41" Type="http://schemas.openxmlformats.org/officeDocument/2006/relationships/tags" Target="../tags/tag2338.xml"/><Relationship Id="rId54" Type="http://schemas.openxmlformats.org/officeDocument/2006/relationships/tags" Target="../tags/tag2351.xml"/><Relationship Id="rId62" Type="http://schemas.openxmlformats.org/officeDocument/2006/relationships/tags" Target="../tags/tag2359.xml"/><Relationship Id="rId70" Type="http://schemas.openxmlformats.org/officeDocument/2006/relationships/tags" Target="../tags/tag2367.xml"/><Relationship Id="rId75" Type="http://schemas.openxmlformats.org/officeDocument/2006/relationships/tags" Target="../tags/tag2372.xml"/><Relationship Id="rId83" Type="http://schemas.openxmlformats.org/officeDocument/2006/relationships/tags" Target="../tags/tag2380.xml"/><Relationship Id="rId88" Type="http://schemas.openxmlformats.org/officeDocument/2006/relationships/tags" Target="../tags/tag2385.xml"/><Relationship Id="rId91" Type="http://schemas.openxmlformats.org/officeDocument/2006/relationships/tags" Target="../tags/tag2388.xml"/><Relationship Id="rId96" Type="http://schemas.openxmlformats.org/officeDocument/2006/relationships/tags" Target="../tags/tag2393.xml"/><Relationship Id="rId1" Type="http://schemas.openxmlformats.org/officeDocument/2006/relationships/vmlDrawing" Target="../drawings/vmlDrawing88.vml"/><Relationship Id="rId6" Type="http://schemas.openxmlformats.org/officeDocument/2006/relationships/tags" Target="../tags/tag2303.xml"/><Relationship Id="rId15" Type="http://schemas.openxmlformats.org/officeDocument/2006/relationships/tags" Target="../tags/tag2312.xml"/><Relationship Id="rId23" Type="http://schemas.openxmlformats.org/officeDocument/2006/relationships/tags" Target="../tags/tag2320.xml"/><Relationship Id="rId28" Type="http://schemas.openxmlformats.org/officeDocument/2006/relationships/tags" Target="../tags/tag2325.xml"/><Relationship Id="rId36" Type="http://schemas.openxmlformats.org/officeDocument/2006/relationships/tags" Target="../tags/tag2333.xml"/><Relationship Id="rId49" Type="http://schemas.openxmlformats.org/officeDocument/2006/relationships/tags" Target="../tags/tag2346.xml"/><Relationship Id="rId57" Type="http://schemas.openxmlformats.org/officeDocument/2006/relationships/tags" Target="../tags/tag2354.xml"/><Relationship Id="rId10" Type="http://schemas.openxmlformats.org/officeDocument/2006/relationships/tags" Target="../tags/tag2307.xml"/><Relationship Id="rId31" Type="http://schemas.openxmlformats.org/officeDocument/2006/relationships/tags" Target="../tags/tag2328.xml"/><Relationship Id="rId44" Type="http://schemas.openxmlformats.org/officeDocument/2006/relationships/tags" Target="../tags/tag2341.xml"/><Relationship Id="rId52" Type="http://schemas.openxmlformats.org/officeDocument/2006/relationships/tags" Target="../tags/tag2349.xml"/><Relationship Id="rId60" Type="http://schemas.openxmlformats.org/officeDocument/2006/relationships/tags" Target="../tags/tag2357.xml"/><Relationship Id="rId65" Type="http://schemas.openxmlformats.org/officeDocument/2006/relationships/tags" Target="../tags/tag2362.xml"/><Relationship Id="rId73" Type="http://schemas.openxmlformats.org/officeDocument/2006/relationships/tags" Target="../tags/tag2370.xml"/><Relationship Id="rId78" Type="http://schemas.openxmlformats.org/officeDocument/2006/relationships/tags" Target="../tags/tag2375.xml"/><Relationship Id="rId81" Type="http://schemas.openxmlformats.org/officeDocument/2006/relationships/tags" Target="../tags/tag2378.xml"/><Relationship Id="rId86" Type="http://schemas.openxmlformats.org/officeDocument/2006/relationships/tags" Target="../tags/tag2383.xml"/><Relationship Id="rId94" Type="http://schemas.openxmlformats.org/officeDocument/2006/relationships/tags" Target="../tags/tag2391.xml"/><Relationship Id="rId99" Type="http://schemas.openxmlformats.org/officeDocument/2006/relationships/tags" Target="../tags/tag2396.xml"/><Relationship Id="rId101" Type="http://schemas.openxmlformats.org/officeDocument/2006/relationships/tags" Target="../tags/tag2398.xml"/><Relationship Id="rId4" Type="http://schemas.openxmlformats.org/officeDocument/2006/relationships/tags" Target="../tags/tag2301.xml"/><Relationship Id="rId9" Type="http://schemas.openxmlformats.org/officeDocument/2006/relationships/tags" Target="../tags/tag2306.xml"/><Relationship Id="rId13" Type="http://schemas.openxmlformats.org/officeDocument/2006/relationships/tags" Target="../tags/tag2310.xml"/><Relationship Id="rId18" Type="http://schemas.openxmlformats.org/officeDocument/2006/relationships/tags" Target="../tags/tag2315.xml"/><Relationship Id="rId39" Type="http://schemas.openxmlformats.org/officeDocument/2006/relationships/tags" Target="../tags/tag2336.xml"/><Relationship Id="rId34" Type="http://schemas.openxmlformats.org/officeDocument/2006/relationships/tags" Target="../tags/tag2331.xml"/><Relationship Id="rId50" Type="http://schemas.openxmlformats.org/officeDocument/2006/relationships/tags" Target="../tags/tag2347.xml"/><Relationship Id="rId55" Type="http://schemas.openxmlformats.org/officeDocument/2006/relationships/tags" Target="../tags/tag2352.xml"/><Relationship Id="rId76" Type="http://schemas.openxmlformats.org/officeDocument/2006/relationships/tags" Target="../tags/tag2373.xml"/><Relationship Id="rId97" Type="http://schemas.openxmlformats.org/officeDocument/2006/relationships/tags" Target="../tags/tag2394.xml"/><Relationship Id="rId104" Type="http://schemas.openxmlformats.org/officeDocument/2006/relationships/image" Target="../media/image12.emf"/><Relationship Id="rId7" Type="http://schemas.openxmlformats.org/officeDocument/2006/relationships/tags" Target="../tags/tag2304.xml"/><Relationship Id="rId71" Type="http://schemas.openxmlformats.org/officeDocument/2006/relationships/tags" Target="../tags/tag2368.xml"/><Relationship Id="rId92" Type="http://schemas.openxmlformats.org/officeDocument/2006/relationships/tags" Target="../tags/tag2389.xml"/><Relationship Id="rId2" Type="http://schemas.openxmlformats.org/officeDocument/2006/relationships/tags" Target="../tags/tag2299.xml"/><Relationship Id="rId29" Type="http://schemas.openxmlformats.org/officeDocument/2006/relationships/tags" Target="../tags/tag2326.xml"/><Relationship Id="rId24" Type="http://schemas.openxmlformats.org/officeDocument/2006/relationships/tags" Target="../tags/tag2321.xml"/><Relationship Id="rId40" Type="http://schemas.openxmlformats.org/officeDocument/2006/relationships/tags" Target="../tags/tag2337.xml"/><Relationship Id="rId45" Type="http://schemas.openxmlformats.org/officeDocument/2006/relationships/tags" Target="../tags/tag2342.xml"/><Relationship Id="rId66" Type="http://schemas.openxmlformats.org/officeDocument/2006/relationships/tags" Target="../tags/tag2363.xml"/><Relationship Id="rId87" Type="http://schemas.openxmlformats.org/officeDocument/2006/relationships/tags" Target="../tags/tag2384.xml"/><Relationship Id="rId61" Type="http://schemas.openxmlformats.org/officeDocument/2006/relationships/tags" Target="../tags/tag2358.xml"/><Relationship Id="rId82" Type="http://schemas.openxmlformats.org/officeDocument/2006/relationships/tags" Target="../tags/tag2379.xml"/><Relationship Id="rId19" Type="http://schemas.openxmlformats.org/officeDocument/2006/relationships/tags" Target="../tags/tag2316.xml"/><Relationship Id="rId14" Type="http://schemas.openxmlformats.org/officeDocument/2006/relationships/tags" Target="../tags/tag2311.xml"/><Relationship Id="rId30" Type="http://schemas.openxmlformats.org/officeDocument/2006/relationships/tags" Target="../tags/tag2327.xml"/><Relationship Id="rId35" Type="http://schemas.openxmlformats.org/officeDocument/2006/relationships/tags" Target="../tags/tag2332.xml"/><Relationship Id="rId56" Type="http://schemas.openxmlformats.org/officeDocument/2006/relationships/tags" Target="../tags/tag2353.xml"/><Relationship Id="rId77" Type="http://schemas.openxmlformats.org/officeDocument/2006/relationships/tags" Target="../tags/tag2374.xml"/><Relationship Id="rId100" Type="http://schemas.openxmlformats.org/officeDocument/2006/relationships/tags" Target="../tags/tag2397.xml"/><Relationship Id="rId8" Type="http://schemas.openxmlformats.org/officeDocument/2006/relationships/tags" Target="../tags/tag2305.xml"/><Relationship Id="rId51" Type="http://schemas.openxmlformats.org/officeDocument/2006/relationships/tags" Target="../tags/tag2348.xml"/><Relationship Id="rId72" Type="http://schemas.openxmlformats.org/officeDocument/2006/relationships/tags" Target="../tags/tag2369.xml"/><Relationship Id="rId93" Type="http://schemas.openxmlformats.org/officeDocument/2006/relationships/tags" Target="../tags/tag2390.xml"/><Relationship Id="rId98" Type="http://schemas.openxmlformats.org/officeDocument/2006/relationships/tags" Target="../tags/tag2395.xml"/><Relationship Id="rId3" Type="http://schemas.openxmlformats.org/officeDocument/2006/relationships/tags" Target="../tags/tag2300.xml"/></Relationships>
</file>

<file path=ppt/slideLayouts/_rels/slideLayout87.xml.rels><?xml version="1.0" encoding="UTF-8" standalone="yes"?>
<Relationships xmlns="http://schemas.openxmlformats.org/package/2006/relationships"><Relationship Id="rId26" Type="http://schemas.openxmlformats.org/officeDocument/2006/relationships/tags" Target="../tags/tag2423.xml"/><Relationship Id="rId21" Type="http://schemas.openxmlformats.org/officeDocument/2006/relationships/tags" Target="../tags/tag2418.xml"/><Relationship Id="rId42" Type="http://schemas.openxmlformats.org/officeDocument/2006/relationships/tags" Target="../tags/tag2439.xml"/><Relationship Id="rId47" Type="http://schemas.openxmlformats.org/officeDocument/2006/relationships/tags" Target="../tags/tag2444.xml"/><Relationship Id="rId63" Type="http://schemas.openxmlformats.org/officeDocument/2006/relationships/tags" Target="../tags/tag2460.xml"/><Relationship Id="rId68" Type="http://schemas.openxmlformats.org/officeDocument/2006/relationships/tags" Target="../tags/tag2465.xml"/><Relationship Id="rId84" Type="http://schemas.openxmlformats.org/officeDocument/2006/relationships/tags" Target="../tags/tag2481.xml"/><Relationship Id="rId89" Type="http://schemas.openxmlformats.org/officeDocument/2006/relationships/tags" Target="../tags/tag2486.xml"/><Relationship Id="rId16" Type="http://schemas.openxmlformats.org/officeDocument/2006/relationships/tags" Target="../tags/tag2413.xml"/><Relationship Id="rId11" Type="http://schemas.openxmlformats.org/officeDocument/2006/relationships/tags" Target="../tags/tag2408.xml"/><Relationship Id="rId32" Type="http://schemas.openxmlformats.org/officeDocument/2006/relationships/tags" Target="../tags/tag2429.xml"/><Relationship Id="rId37" Type="http://schemas.openxmlformats.org/officeDocument/2006/relationships/tags" Target="../tags/tag2434.xml"/><Relationship Id="rId53" Type="http://schemas.openxmlformats.org/officeDocument/2006/relationships/tags" Target="../tags/tag2450.xml"/><Relationship Id="rId58" Type="http://schemas.openxmlformats.org/officeDocument/2006/relationships/tags" Target="../tags/tag2455.xml"/><Relationship Id="rId74" Type="http://schemas.openxmlformats.org/officeDocument/2006/relationships/tags" Target="../tags/tag2471.xml"/><Relationship Id="rId79" Type="http://schemas.openxmlformats.org/officeDocument/2006/relationships/tags" Target="../tags/tag2476.xml"/><Relationship Id="rId102" Type="http://schemas.openxmlformats.org/officeDocument/2006/relationships/slideMaster" Target="../slideMasters/slideMaster13.xml"/><Relationship Id="rId5" Type="http://schemas.openxmlformats.org/officeDocument/2006/relationships/tags" Target="../tags/tag2402.xml"/><Relationship Id="rId90" Type="http://schemas.openxmlformats.org/officeDocument/2006/relationships/tags" Target="../tags/tag2487.xml"/><Relationship Id="rId95" Type="http://schemas.openxmlformats.org/officeDocument/2006/relationships/tags" Target="../tags/tag2492.xml"/><Relationship Id="rId22" Type="http://schemas.openxmlformats.org/officeDocument/2006/relationships/tags" Target="../tags/tag2419.xml"/><Relationship Id="rId27" Type="http://schemas.openxmlformats.org/officeDocument/2006/relationships/tags" Target="../tags/tag2424.xml"/><Relationship Id="rId43" Type="http://schemas.openxmlformats.org/officeDocument/2006/relationships/tags" Target="../tags/tag2440.xml"/><Relationship Id="rId48" Type="http://schemas.openxmlformats.org/officeDocument/2006/relationships/tags" Target="../tags/tag2445.xml"/><Relationship Id="rId64" Type="http://schemas.openxmlformats.org/officeDocument/2006/relationships/tags" Target="../tags/tag2461.xml"/><Relationship Id="rId69" Type="http://schemas.openxmlformats.org/officeDocument/2006/relationships/tags" Target="../tags/tag2466.xml"/><Relationship Id="rId80" Type="http://schemas.openxmlformats.org/officeDocument/2006/relationships/tags" Target="../tags/tag2477.xml"/><Relationship Id="rId85" Type="http://schemas.openxmlformats.org/officeDocument/2006/relationships/tags" Target="../tags/tag2482.xml"/><Relationship Id="rId12" Type="http://schemas.openxmlformats.org/officeDocument/2006/relationships/tags" Target="../tags/tag2409.xml"/><Relationship Id="rId17" Type="http://schemas.openxmlformats.org/officeDocument/2006/relationships/tags" Target="../tags/tag2414.xml"/><Relationship Id="rId25" Type="http://schemas.openxmlformats.org/officeDocument/2006/relationships/tags" Target="../tags/tag2422.xml"/><Relationship Id="rId33" Type="http://schemas.openxmlformats.org/officeDocument/2006/relationships/tags" Target="../tags/tag2430.xml"/><Relationship Id="rId38" Type="http://schemas.openxmlformats.org/officeDocument/2006/relationships/tags" Target="../tags/tag2435.xml"/><Relationship Id="rId46" Type="http://schemas.openxmlformats.org/officeDocument/2006/relationships/tags" Target="../tags/tag2443.xml"/><Relationship Id="rId59" Type="http://schemas.openxmlformats.org/officeDocument/2006/relationships/tags" Target="../tags/tag2456.xml"/><Relationship Id="rId67" Type="http://schemas.openxmlformats.org/officeDocument/2006/relationships/tags" Target="../tags/tag2464.xml"/><Relationship Id="rId103" Type="http://schemas.openxmlformats.org/officeDocument/2006/relationships/oleObject" Target="../embeddings/oleObject89.bin"/><Relationship Id="rId20" Type="http://schemas.openxmlformats.org/officeDocument/2006/relationships/tags" Target="../tags/tag2417.xml"/><Relationship Id="rId41" Type="http://schemas.openxmlformats.org/officeDocument/2006/relationships/tags" Target="../tags/tag2438.xml"/><Relationship Id="rId54" Type="http://schemas.openxmlformats.org/officeDocument/2006/relationships/tags" Target="../tags/tag2451.xml"/><Relationship Id="rId62" Type="http://schemas.openxmlformats.org/officeDocument/2006/relationships/tags" Target="../tags/tag2459.xml"/><Relationship Id="rId70" Type="http://schemas.openxmlformats.org/officeDocument/2006/relationships/tags" Target="../tags/tag2467.xml"/><Relationship Id="rId75" Type="http://schemas.openxmlformats.org/officeDocument/2006/relationships/tags" Target="../tags/tag2472.xml"/><Relationship Id="rId83" Type="http://schemas.openxmlformats.org/officeDocument/2006/relationships/tags" Target="../tags/tag2480.xml"/><Relationship Id="rId88" Type="http://schemas.openxmlformats.org/officeDocument/2006/relationships/tags" Target="../tags/tag2485.xml"/><Relationship Id="rId91" Type="http://schemas.openxmlformats.org/officeDocument/2006/relationships/tags" Target="../tags/tag2488.xml"/><Relationship Id="rId96" Type="http://schemas.openxmlformats.org/officeDocument/2006/relationships/tags" Target="../tags/tag2493.xml"/><Relationship Id="rId1" Type="http://schemas.openxmlformats.org/officeDocument/2006/relationships/vmlDrawing" Target="../drawings/vmlDrawing89.vml"/><Relationship Id="rId6" Type="http://schemas.openxmlformats.org/officeDocument/2006/relationships/tags" Target="../tags/tag2403.xml"/><Relationship Id="rId15" Type="http://schemas.openxmlformats.org/officeDocument/2006/relationships/tags" Target="../tags/tag2412.xml"/><Relationship Id="rId23" Type="http://schemas.openxmlformats.org/officeDocument/2006/relationships/tags" Target="../tags/tag2420.xml"/><Relationship Id="rId28" Type="http://schemas.openxmlformats.org/officeDocument/2006/relationships/tags" Target="../tags/tag2425.xml"/><Relationship Id="rId36" Type="http://schemas.openxmlformats.org/officeDocument/2006/relationships/tags" Target="../tags/tag2433.xml"/><Relationship Id="rId49" Type="http://schemas.openxmlformats.org/officeDocument/2006/relationships/tags" Target="../tags/tag2446.xml"/><Relationship Id="rId57" Type="http://schemas.openxmlformats.org/officeDocument/2006/relationships/tags" Target="../tags/tag2454.xml"/><Relationship Id="rId10" Type="http://schemas.openxmlformats.org/officeDocument/2006/relationships/tags" Target="../tags/tag2407.xml"/><Relationship Id="rId31" Type="http://schemas.openxmlformats.org/officeDocument/2006/relationships/tags" Target="../tags/tag2428.xml"/><Relationship Id="rId44" Type="http://schemas.openxmlformats.org/officeDocument/2006/relationships/tags" Target="../tags/tag2441.xml"/><Relationship Id="rId52" Type="http://schemas.openxmlformats.org/officeDocument/2006/relationships/tags" Target="../tags/tag2449.xml"/><Relationship Id="rId60" Type="http://schemas.openxmlformats.org/officeDocument/2006/relationships/tags" Target="../tags/tag2457.xml"/><Relationship Id="rId65" Type="http://schemas.openxmlformats.org/officeDocument/2006/relationships/tags" Target="../tags/tag2462.xml"/><Relationship Id="rId73" Type="http://schemas.openxmlformats.org/officeDocument/2006/relationships/tags" Target="../tags/tag2470.xml"/><Relationship Id="rId78" Type="http://schemas.openxmlformats.org/officeDocument/2006/relationships/tags" Target="../tags/tag2475.xml"/><Relationship Id="rId81" Type="http://schemas.openxmlformats.org/officeDocument/2006/relationships/tags" Target="../tags/tag2478.xml"/><Relationship Id="rId86" Type="http://schemas.openxmlformats.org/officeDocument/2006/relationships/tags" Target="../tags/tag2483.xml"/><Relationship Id="rId94" Type="http://schemas.openxmlformats.org/officeDocument/2006/relationships/tags" Target="../tags/tag2491.xml"/><Relationship Id="rId99" Type="http://schemas.openxmlformats.org/officeDocument/2006/relationships/tags" Target="../tags/tag2496.xml"/><Relationship Id="rId101" Type="http://schemas.openxmlformats.org/officeDocument/2006/relationships/tags" Target="../tags/tag2498.xml"/><Relationship Id="rId4" Type="http://schemas.openxmlformats.org/officeDocument/2006/relationships/tags" Target="../tags/tag2401.xml"/><Relationship Id="rId9" Type="http://schemas.openxmlformats.org/officeDocument/2006/relationships/tags" Target="../tags/tag2406.xml"/><Relationship Id="rId13" Type="http://schemas.openxmlformats.org/officeDocument/2006/relationships/tags" Target="../tags/tag2410.xml"/><Relationship Id="rId18" Type="http://schemas.openxmlformats.org/officeDocument/2006/relationships/tags" Target="../tags/tag2415.xml"/><Relationship Id="rId39" Type="http://schemas.openxmlformats.org/officeDocument/2006/relationships/tags" Target="../tags/tag2436.xml"/><Relationship Id="rId34" Type="http://schemas.openxmlformats.org/officeDocument/2006/relationships/tags" Target="../tags/tag2431.xml"/><Relationship Id="rId50" Type="http://schemas.openxmlformats.org/officeDocument/2006/relationships/tags" Target="../tags/tag2447.xml"/><Relationship Id="rId55" Type="http://schemas.openxmlformats.org/officeDocument/2006/relationships/tags" Target="../tags/tag2452.xml"/><Relationship Id="rId76" Type="http://schemas.openxmlformats.org/officeDocument/2006/relationships/tags" Target="../tags/tag2473.xml"/><Relationship Id="rId97" Type="http://schemas.openxmlformats.org/officeDocument/2006/relationships/tags" Target="../tags/tag2494.xml"/><Relationship Id="rId104" Type="http://schemas.openxmlformats.org/officeDocument/2006/relationships/image" Target="../media/image12.emf"/><Relationship Id="rId7" Type="http://schemas.openxmlformats.org/officeDocument/2006/relationships/tags" Target="../tags/tag2404.xml"/><Relationship Id="rId71" Type="http://schemas.openxmlformats.org/officeDocument/2006/relationships/tags" Target="../tags/tag2468.xml"/><Relationship Id="rId92" Type="http://schemas.openxmlformats.org/officeDocument/2006/relationships/tags" Target="../tags/tag2489.xml"/><Relationship Id="rId2" Type="http://schemas.openxmlformats.org/officeDocument/2006/relationships/tags" Target="../tags/tag2399.xml"/><Relationship Id="rId29" Type="http://schemas.openxmlformats.org/officeDocument/2006/relationships/tags" Target="../tags/tag2426.xml"/><Relationship Id="rId24" Type="http://schemas.openxmlformats.org/officeDocument/2006/relationships/tags" Target="../tags/tag2421.xml"/><Relationship Id="rId40" Type="http://schemas.openxmlformats.org/officeDocument/2006/relationships/tags" Target="../tags/tag2437.xml"/><Relationship Id="rId45" Type="http://schemas.openxmlformats.org/officeDocument/2006/relationships/tags" Target="../tags/tag2442.xml"/><Relationship Id="rId66" Type="http://schemas.openxmlformats.org/officeDocument/2006/relationships/tags" Target="../tags/tag2463.xml"/><Relationship Id="rId87" Type="http://schemas.openxmlformats.org/officeDocument/2006/relationships/tags" Target="../tags/tag2484.xml"/><Relationship Id="rId61" Type="http://schemas.openxmlformats.org/officeDocument/2006/relationships/tags" Target="../tags/tag2458.xml"/><Relationship Id="rId82" Type="http://schemas.openxmlformats.org/officeDocument/2006/relationships/tags" Target="../tags/tag2479.xml"/><Relationship Id="rId19" Type="http://schemas.openxmlformats.org/officeDocument/2006/relationships/tags" Target="../tags/tag2416.xml"/><Relationship Id="rId14" Type="http://schemas.openxmlformats.org/officeDocument/2006/relationships/tags" Target="../tags/tag2411.xml"/><Relationship Id="rId30" Type="http://schemas.openxmlformats.org/officeDocument/2006/relationships/tags" Target="../tags/tag2427.xml"/><Relationship Id="rId35" Type="http://schemas.openxmlformats.org/officeDocument/2006/relationships/tags" Target="../tags/tag2432.xml"/><Relationship Id="rId56" Type="http://schemas.openxmlformats.org/officeDocument/2006/relationships/tags" Target="../tags/tag2453.xml"/><Relationship Id="rId77" Type="http://schemas.openxmlformats.org/officeDocument/2006/relationships/tags" Target="../tags/tag2474.xml"/><Relationship Id="rId100" Type="http://schemas.openxmlformats.org/officeDocument/2006/relationships/tags" Target="../tags/tag2497.xml"/><Relationship Id="rId8" Type="http://schemas.openxmlformats.org/officeDocument/2006/relationships/tags" Target="../tags/tag2405.xml"/><Relationship Id="rId51" Type="http://schemas.openxmlformats.org/officeDocument/2006/relationships/tags" Target="../tags/tag2448.xml"/><Relationship Id="rId72" Type="http://schemas.openxmlformats.org/officeDocument/2006/relationships/tags" Target="../tags/tag2469.xml"/><Relationship Id="rId93" Type="http://schemas.openxmlformats.org/officeDocument/2006/relationships/tags" Target="../tags/tag2490.xml"/><Relationship Id="rId98" Type="http://schemas.openxmlformats.org/officeDocument/2006/relationships/tags" Target="../tags/tag2495.xml"/><Relationship Id="rId3" Type="http://schemas.openxmlformats.org/officeDocument/2006/relationships/tags" Target="../tags/tag2400.xml"/></Relationships>
</file>

<file path=ppt/slideLayouts/_rels/slideLayout88.xml.rels><?xml version="1.0" encoding="UTF-8" standalone="yes"?>
<Relationships xmlns="http://schemas.openxmlformats.org/package/2006/relationships"><Relationship Id="rId26" Type="http://schemas.openxmlformats.org/officeDocument/2006/relationships/tags" Target="../tags/tag2523.xml"/><Relationship Id="rId21" Type="http://schemas.openxmlformats.org/officeDocument/2006/relationships/tags" Target="../tags/tag2518.xml"/><Relationship Id="rId42" Type="http://schemas.openxmlformats.org/officeDocument/2006/relationships/tags" Target="../tags/tag2539.xml"/><Relationship Id="rId47" Type="http://schemas.openxmlformats.org/officeDocument/2006/relationships/tags" Target="../tags/tag2544.xml"/><Relationship Id="rId63" Type="http://schemas.openxmlformats.org/officeDocument/2006/relationships/tags" Target="../tags/tag2560.xml"/><Relationship Id="rId68" Type="http://schemas.openxmlformats.org/officeDocument/2006/relationships/tags" Target="../tags/tag2565.xml"/><Relationship Id="rId84" Type="http://schemas.openxmlformats.org/officeDocument/2006/relationships/tags" Target="../tags/tag2581.xml"/><Relationship Id="rId89" Type="http://schemas.openxmlformats.org/officeDocument/2006/relationships/tags" Target="../tags/tag2586.xml"/><Relationship Id="rId16" Type="http://schemas.openxmlformats.org/officeDocument/2006/relationships/tags" Target="../tags/tag2513.xml"/><Relationship Id="rId11" Type="http://schemas.openxmlformats.org/officeDocument/2006/relationships/tags" Target="../tags/tag2508.xml"/><Relationship Id="rId32" Type="http://schemas.openxmlformats.org/officeDocument/2006/relationships/tags" Target="../tags/tag2529.xml"/><Relationship Id="rId37" Type="http://schemas.openxmlformats.org/officeDocument/2006/relationships/tags" Target="../tags/tag2534.xml"/><Relationship Id="rId53" Type="http://schemas.openxmlformats.org/officeDocument/2006/relationships/tags" Target="../tags/tag2550.xml"/><Relationship Id="rId58" Type="http://schemas.openxmlformats.org/officeDocument/2006/relationships/tags" Target="../tags/tag2555.xml"/><Relationship Id="rId74" Type="http://schemas.openxmlformats.org/officeDocument/2006/relationships/tags" Target="../tags/tag2571.xml"/><Relationship Id="rId79" Type="http://schemas.openxmlformats.org/officeDocument/2006/relationships/tags" Target="../tags/tag2576.xml"/><Relationship Id="rId102" Type="http://schemas.openxmlformats.org/officeDocument/2006/relationships/tags" Target="../tags/tag2599.xml"/><Relationship Id="rId5" Type="http://schemas.openxmlformats.org/officeDocument/2006/relationships/tags" Target="../tags/tag2502.xml"/><Relationship Id="rId90" Type="http://schemas.openxmlformats.org/officeDocument/2006/relationships/tags" Target="../tags/tag2587.xml"/><Relationship Id="rId95" Type="http://schemas.openxmlformats.org/officeDocument/2006/relationships/tags" Target="../tags/tag2592.xml"/><Relationship Id="rId22" Type="http://schemas.openxmlformats.org/officeDocument/2006/relationships/tags" Target="../tags/tag2519.xml"/><Relationship Id="rId27" Type="http://schemas.openxmlformats.org/officeDocument/2006/relationships/tags" Target="../tags/tag2524.xml"/><Relationship Id="rId43" Type="http://schemas.openxmlformats.org/officeDocument/2006/relationships/tags" Target="../tags/tag2540.xml"/><Relationship Id="rId48" Type="http://schemas.openxmlformats.org/officeDocument/2006/relationships/tags" Target="../tags/tag2545.xml"/><Relationship Id="rId64" Type="http://schemas.openxmlformats.org/officeDocument/2006/relationships/tags" Target="../tags/tag2561.xml"/><Relationship Id="rId69" Type="http://schemas.openxmlformats.org/officeDocument/2006/relationships/tags" Target="../tags/tag2566.xml"/><Relationship Id="rId80" Type="http://schemas.openxmlformats.org/officeDocument/2006/relationships/tags" Target="../tags/tag2577.xml"/><Relationship Id="rId85" Type="http://schemas.openxmlformats.org/officeDocument/2006/relationships/tags" Target="../tags/tag2582.xml"/><Relationship Id="rId12" Type="http://schemas.openxmlformats.org/officeDocument/2006/relationships/tags" Target="../tags/tag2509.xml"/><Relationship Id="rId17" Type="http://schemas.openxmlformats.org/officeDocument/2006/relationships/tags" Target="../tags/tag2514.xml"/><Relationship Id="rId33" Type="http://schemas.openxmlformats.org/officeDocument/2006/relationships/tags" Target="../tags/tag2530.xml"/><Relationship Id="rId38" Type="http://schemas.openxmlformats.org/officeDocument/2006/relationships/tags" Target="../tags/tag2535.xml"/><Relationship Id="rId59" Type="http://schemas.openxmlformats.org/officeDocument/2006/relationships/tags" Target="../tags/tag2556.xml"/><Relationship Id="rId103" Type="http://schemas.openxmlformats.org/officeDocument/2006/relationships/tags" Target="../tags/tag2600.xml"/><Relationship Id="rId20" Type="http://schemas.openxmlformats.org/officeDocument/2006/relationships/tags" Target="../tags/tag2517.xml"/><Relationship Id="rId41" Type="http://schemas.openxmlformats.org/officeDocument/2006/relationships/tags" Target="../tags/tag2538.xml"/><Relationship Id="rId54" Type="http://schemas.openxmlformats.org/officeDocument/2006/relationships/tags" Target="../tags/tag2551.xml"/><Relationship Id="rId62" Type="http://schemas.openxmlformats.org/officeDocument/2006/relationships/tags" Target="../tags/tag2559.xml"/><Relationship Id="rId70" Type="http://schemas.openxmlformats.org/officeDocument/2006/relationships/tags" Target="../tags/tag2567.xml"/><Relationship Id="rId75" Type="http://schemas.openxmlformats.org/officeDocument/2006/relationships/tags" Target="../tags/tag2572.xml"/><Relationship Id="rId83" Type="http://schemas.openxmlformats.org/officeDocument/2006/relationships/tags" Target="../tags/tag2580.xml"/><Relationship Id="rId88" Type="http://schemas.openxmlformats.org/officeDocument/2006/relationships/tags" Target="../tags/tag2585.xml"/><Relationship Id="rId91" Type="http://schemas.openxmlformats.org/officeDocument/2006/relationships/tags" Target="../tags/tag2588.xml"/><Relationship Id="rId96" Type="http://schemas.openxmlformats.org/officeDocument/2006/relationships/tags" Target="../tags/tag2593.xml"/><Relationship Id="rId1" Type="http://schemas.openxmlformats.org/officeDocument/2006/relationships/vmlDrawing" Target="../drawings/vmlDrawing90.vml"/><Relationship Id="rId6" Type="http://schemas.openxmlformats.org/officeDocument/2006/relationships/tags" Target="../tags/tag2503.xml"/><Relationship Id="rId15" Type="http://schemas.openxmlformats.org/officeDocument/2006/relationships/tags" Target="../tags/tag2512.xml"/><Relationship Id="rId23" Type="http://schemas.openxmlformats.org/officeDocument/2006/relationships/tags" Target="../tags/tag2520.xml"/><Relationship Id="rId28" Type="http://schemas.openxmlformats.org/officeDocument/2006/relationships/tags" Target="../tags/tag2525.xml"/><Relationship Id="rId36" Type="http://schemas.openxmlformats.org/officeDocument/2006/relationships/tags" Target="../tags/tag2533.xml"/><Relationship Id="rId49" Type="http://schemas.openxmlformats.org/officeDocument/2006/relationships/tags" Target="../tags/tag2546.xml"/><Relationship Id="rId57" Type="http://schemas.openxmlformats.org/officeDocument/2006/relationships/tags" Target="../tags/tag2554.xml"/><Relationship Id="rId106" Type="http://schemas.openxmlformats.org/officeDocument/2006/relationships/image" Target="../media/image12.emf"/><Relationship Id="rId10" Type="http://schemas.openxmlformats.org/officeDocument/2006/relationships/tags" Target="../tags/tag2507.xml"/><Relationship Id="rId31" Type="http://schemas.openxmlformats.org/officeDocument/2006/relationships/tags" Target="../tags/tag2528.xml"/><Relationship Id="rId44" Type="http://schemas.openxmlformats.org/officeDocument/2006/relationships/tags" Target="../tags/tag2541.xml"/><Relationship Id="rId52" Type="http://schemas.openxmlformats.org/officeDocument/2006/relationships/tags" Target="../tags/tag2549.xml"/><Relationship Id="rId60" Type="http://schemas.openxmlformats.org/officeDocument/2006/relationships/tags" Target="../tags/tag2557.xml"/><Relationship Id="rId65" Type="http://schemas.openxmlformats.org/officeDocument/2006/relationships/tags" Target="../tags/tag2562.xml"/><Relationship Id="rId73" Type="http://schemas.openxmlformats.org/officeDocument/2006/relationships/tags" Target="../tags/tag2570.xml"/><Relationship Id="rId78" Type="http://schemas.openxmlformats.org/officeDocument/2006/relationships/tags" Target="../tags/tag2575.xml"/><Relationship Id="rId81" Type="http://schemas.openxmlformats.org/officeDocument/2006/relationships/tags" Target="../tags/tag2578.xml"/><Relationship Id="rId86" Type="http://schemas.openxmlformats.org/officeDocument/2006/relationships/tags" Target="../tags/tag2583.xml"/><Relationship Id="rId94" Type="http://schemas.openxmlformats.org/officeDocument/2006/relationships/tags" Target="../tags/tag2591.xml"/><Relationship Id="rId99" Type="http://schemas.openxmlformats.org/officeDocument/2006/relationships/tags" Target="../tags/tag2596.xml"/><Relationship Id="rId101" Type="http://schemas.openxmlformats.org/officeDocument/2006/relationships/tags" Target="../tags/tag2598.xml"/><Relationship Id="rId4" Type="http://schemas.openxmlformats.org/officeDocument/2006/relationships/tags" Target="../tags/tag2501.xml"/><Relationship Id="rId9" Type="http://schemas.openxmlformats.org/officeDocument/2006/relationships/tags" Target="../tags/tag2506.xml"/><Relationship Id="rId13" Type="http://schemas.openxmlformats.org/officeDocument/2006/relationships/tags" Target="../tags/tag2510.xml"/><Relationship Id="rId18" Type="http://schemas.openxmlformats.org/officeDocument/2006/relationships/tags" Target="../tags/tag2515.xml"/><Relationship Id="rId39" Type="http://schemas.openxmlformats.org/officeDocument/2006/relationships/tags" Target="../tags/tag2536.xml"/><Relationship Id="rId34" Type="http://schemas.openxmlformats.org/officeDocument/2006/relationships/tags" Target="../tags/tag2531.xml"/><Relationship Id="rId50" Type="http://schemas.openxmlformats.org/officeDocument/2006/relationships/tags" Target="../tags/tag2547.xml"/><Relationship Id="rId55" Type="http://schemas.openxmlformats.org/officeDocument/2006/relationships/tags" Target="../tags/tag2552.xml"/><Relationship Id="rId76" Type="http://schemas.openxmlformats.org/officeDocument/2006/relationships/tags" Target="../tags/tag2573.xml"/><Relationship Id="rId97" Type="http://schemas.openxmlformats.org/officeDocument/2006/relationships/tags" Target="../tags/tag2594.xml"/><Relationship Id="rId104" Type="http://schemas.openxmlformats.org/officeDocument/2006/relationships/slideMaster" Target="../slideMasters/slideMaster13.xml"/><Relationship Id="rId7" Type="http://schemas.openxmlformats.org/officeDocument/2006/relationships/tags" Target="../tags/tag2504.xml"/><Relationship Id="rId71" Type="http://schemas.openxmlformats.org/officeDocument/2006/relationships/tags" Target="../tags/tag2568.xml"/><Relationship Id="rId92" Type="http://schemas.openxmlformats.org/officeDocument/2006/relationships/tags" Target="../tags/tag2589.xml"/><Relationship Id="rId2" Type="http://schemas.openxmlformats.org/officeDocument/2006/relationships/tags" Target="../tags/tag2499.xml"/><Relationship Id="rId29" Type="http://schemas.openxmlformats.org/officeDocument/2006/relationships/tags" Target="../tags/tag2526.xml"/><Relationship Id="rId24" Type="http://schemas.openxmlformats.org/officeDocument/2006/relationships/tags" Target="../tags/tag2521.xml"/><Relationship Id="rId40" Type="http://schemas.openxmlformats.org/officeDocument/2006/relationships/tags" Target="../tags/tag2537.xml"/><Relationship Id="rId45" Type="http://schemas.openxmlformats.org/officeDocument/2006/relationships/tags" Target="../tags/tag2542.xml"/><Relationship Id="rId66" Type="http://schemas.openxmlformats.org/officeDocument/2006/relationships/tags" Target="../tags/tag2563.xml"/><Relationship Id="rId87" Type="http://schemas.openxmlformats.org/officeDocument/2006/relationships/tags" Target="../tags/tag2584.xml"/><Relationship Id="rId61" Type="http://schemas.openxmlformats.org/officeDocument/2006/relationships/tags" Target="../tags/tag2558.xml"/><Relationship Id="rId82" Type="http://schemas.openxmlformats.org/officeDocument/2006/relationships/tags" Target="../tags/tag2579.xml"/><Relationship Id="rId19" Type="http://schemas.openxmlformats.org/officeDocument/2006/relationships/tags" Target="../tags/tag2516.xml"/><Relationship Id="rId14" Type="http://schemas.openxmlformats.org/officeDocument/2006/relationships/tags" Target="../tags/tag2511.xml"/><Relationship Id="rId30" Type="http://schemas.openxmlformats.org/officeDocument/2006/relationships/tags" Target="../tags/tag2527.xml"/><Relationship Id="rId35" Type="http://schemas.openxmlformats.org/officeDocument/2006/relationships/tags" Target="../tags/tag2532.xml"/><Relationship Id="rId56" Type="http://schemas.openxmlformats.org/officeDocument/2006/relationships/tags" Target="../tags/tag2553.xml"/><Relationship Id="rId77" Type="http://schemas.openxmlformats.org/officeDocument/2006/relationships/tags" Target="../tags/tag2574.xml"/><Relationship Id="rId100" Type="http://schemas.openxmlformats.org/officeDocument/2006/relationships/tags" Target="../tags/tag2597.xml"/><Relationship Id="rId105" Type="http://schemas.openxmlformats.org/officeDocument/2006/relationships/oleObject" Target="../embeddings/oleObject90.bin"/><Relationship Id="rId8" Type="http://schemas.openxmlformats.org/officeDocument/2006/relationships/tags" Target="../tags/tag2505.xml"/><Relationship Id="rId51" Type="http://schemas.openxmlformats.org/officeDocument/2006/relationships/tags" Target="../tags/tag2548.xml"/><Relationship Id="rId72" Type="http://schemas.openxmlformats.org/officeDocument/2006/relationships/tags" Target="../tags/tag2569.xml"/><Relationship Id="rId93" Type="http://schemas.openxmlformats.org/officeDocument/2006/relationships/tags" Target="../tags/tag2590.xml"/><Relationship Id="rId98" Type="http://schemas.openxmlformats.org/officeDocument/2006/relationships/tags" Target="../tags/tag2595.xml"/><Relationship Id="rId3" Type="http://schemas.openxmlformats.org/officeDocument/2006/relationships/tags" Target="../tags/tag2500.xml"/><Relationship Id="rId25" Type="http://schemas.openxmlformats.org/officeDocument/2006/relationships/tags" Target="../tags/tag2522.xml"/><Relationship Id="rId46" Type="http://schemas.openxmlformats.org/officeDocument/2006/relationships/tags" Target="../tags/tag2543.xml"/><Relationship Id="rId67" Type="http://schemas.openxmlformats.org/officeDocument/2006/relationships/tags" Target="../tags/tag2564.xml"/></Relationships>
</file>

<file path=ppt/slideLayouts/_rels/slideLayout89.xml.rels><?xml version="1.0" encoding="UTF-8" standalone="yes"?>
<Relationships xmlns="http://schemas.openxmlformats.org/package/2006/relationships"><Relationship Id="rId26" Type="http://schemas.openxmlformats.org/officeDocument/2006/relationships/tags" Target="../tags/tag2625.xml"/><Relationship Id="rId21" Type="http://schemas.openxmlformats.org/officeDocument/2006/relationships/tags" Target="../tags/tag2620.xml"/><Relationship Id="rId42" Type="http://schemas.openxmlformats.org/officeDocument/2006/relationships/tags" Target="../tags/tag2641.xml"/><Relationship Id="rId47" Type="http://schemas.openxmlformats.org/officeDocument/2006/relationships/tags" Target="../tags/tag2646.xml"/><Relationship Id="rId63" Type="http://schemas.openxmlformats.org/officeDocument/2006/relationships/tags" Target="../tags/tag2662.xml"/><Relationship Id="rId68" Type="http://schemas.openxmlformats.org/officeDocument/2006/relationships/tags" Target="../tags/tag2667.xml"/><Relationship Id="rId84" Type="http://schemas.openxmlformats.org/officeDocument/2006/relationships/tags" Target="../tags/tag2683.xml"/><Relationship Id="rId89" Type="http://schemas.openxmlformats.org/officeDocument/2006/relationships/tags" Target="../tags/tag2688.xml"/><Relationship Id="rId16" Type="http://schemas.openxmlformats.org/officeDocument/2006/relationships/tags" Target="../tags/tag2615.xml"/><Relationship Id="rId11" Type="http://schemas.openxmlformats.org/officeDocument/2006/relationships/tags" Target="../tags/tag2610.xml"/><Relationship Id="rId32" Type="http://schemas.openxmlformats.org/officeDocument/2006/relationships/tags" Target="../tags/tag2631.xml"/><Relationship Id="rId37" Type="http://schemas.openxmlformats.org/officeDocument/2006/relationships/tags" Target="../tags/tag2636.xml"/><Relationship Id="rId53" Type="http://schemas.openxmlformats.org/officeDocument/2006/relationships/tags" Target="../tags/tag2652.xml"/><Relationship Id="rId58" Type="http://schemas.openxmlformats.org/officeDocument/2006/relationships/tags" Target="../tags/tag2657.xml"/><Relationship Id="rId74" Type="http://schemas.openxmlformats.org/officeDocument/2006/relationships/tags" Target="../tags/tag2673.xml"/><Relationship Id="rId79" Type="http://schemas.openxmlformats.org/officeDocument/2006/relationships/tags" Target="../tags/tag2678.xml"/><Relationship Id="rId102" Type="http://schemas.openxmlformats.org/officeDocument/2006/relationships/tags" Target="../tags/tag2701.xml"/><Relationship Id="rId5" Type="http://schemas.openxmlformats.org/officeDocument/2006/relationships/tags" Target="../tags/tag2604.xml"/><Relationship Id="rId90" Type="http://schemas.openxmlformats.org/officeDocument/2006/relationships/tags" Target="../tags/tag2689.xml"/><Relationship Id="rId95" Type="http://schemas.openxmlformats.org/officeDocument/2006/relationships/tags" Target="../tags/tag2694.xml"/><Relationship Id="rId22" Type="http://schemas.openxmlformats.org/officeDocument/2006/relationships/tags" Target="../tags/tag2621.xml"/><Relationship Id="rId27" Type="http://schemas.openxmlformats.org/officeDocument/2006/relationships/tags" Target="../tags/tag2626.xml"/><Relationship Id="rId43" Type="http://schemas.openxmlformats.org/officeDocument/2006/relationships/tags" Target="../tags/tag2642.xml"/><Relationship Id="rId48" Type="http://schemas.openxmlformats.org/officeDocument/2006/relationships/tags" Target="../tags/tag2647.xml"/><Relationship Id="rId64" Type="http://schemas.openxmlformats.org/officeDocument/2006/relationships/tags" Target="../tags/tag2663.xml"/><Relationship Id="rId69" Type="http://schemas.openxmlformats.org/officeDocument/2006/relationships/tags" Target="../tags/tag2668.xml"/><Relationship Id="rId80" Type="http://schemas.openxmlformats.org/officeDocument/2006/relationships/tags" Target="../tags/tag2679.xml"/><Relationship Id="rId85" Type="http://schemas.openxmlformats.org/officeDocument/2006/relationships/tags" Target="../tags/tag2684.xml"/><Relationship Id="rId12" Type="http://schemas.openxmlformats.org/officeDocument/2006/relationships/tags" Target="../tags/tag2611.xml"/><Relationship Id="rId17" Type="http://schemas.openxmlformats.org/officeDocument/2006/relationships/tags" Target="../tags/tag2616.xml"/><Relationship Id="rId33" Type="http://schemas.openxmlformats.org/officeDocument/2006/relationships/tags" Target="../tags/tag2632.xml"/><Relationship Id="rId38" Type="http://schemas.openxmlformats.org/officeDocument/2006/relationships/tags" Target="../tags/tag2637.xml"/><Relationship Id="rId59" Type="http://schemas.openxmlformats.org/officeDocument/2006/relationships/tags" Target="../tags/tag2658.xml"/><Relationship Id="rId103" Type="http://schemas.openxmlformats.org/officeDocument/2006/relationships/tags" Target="../tags/tag2702.xml"/><Relationship Id="rId20" Type="http://schemas.openxmlformats.org/officeDocument/2006/relationships/tags" Target="../tags/tag2619.xml"/><Relationship Id="rId41" Type="http://schemas.openxmlformats.org/officeDocument/2006/relationships/tags" Target="../tags/tag2640.xml"/><Relationship Id="rId54" Type="http://schemas.openxmlformats.org/officeDocument/2006/relationships/tags" Target="../tags/tag2653.xml"/><Relationship Id="rId62" Type="http://schemas.openxmlformats.org/officeDocument/2006/relationships/tags" Target="../tags/tag2661.xml"/><Relationship Id="rId70" Type="http://schemas.openxmlformats.org/officeDocument/2006/relationships/tags" Target="../tags/tag2669.xml"/><Relationship Id="rId75" Type="http://schemas.openxmlformats.org/officeDocument/2006/relationships/tags" Target="../tags/tag2674.xml"/><Relationship Id="rId83" Type="http://schemas.openxmlformats.org/officeDocument/2006/relationships/tags" Target="../tags/tag2682.xml"/><Relationship Id="rId88" Type="http://schemas.openxmlformats.org/officeDocument/2006/relationships/tags" Target="../tags/tag2687.xml"/><Relationship Id="rId91" Type="http://schemas.openxmlformats.org/officeDocument/2006/relationships/tags" Target="../tags/tag2690.xml"/><Relationship Id="rId96" Type="http://schemas.openxmlformats.org/officeDocument/2006/relationships/tags" Target="../tags/tag2695.xml"/><Relationship Id="rId1" Type="http://schemas.openxmlformats.org/officeDocument/2006/relationships/vmlDrawing" Target="../drawings/vmlDrawing91.vml"/><Relationship Id="rId6" Type="http://schemas.openxmlformats.org/officeDocument/2006/relationships/tags" Target="../tags/tag2605.xml"/><Relationship Id="rId15" Type="http://schemas.openxmlformats.org/officeDocument/2006/relationships/tags" Target="../tags/tag2614.xml"/><Relationship Id="rId23" Type="http://schemas.openxmlformats.org/officeDocument/2006/relationships/tags" Target="../tags/tag2622.xml"/><Relationship Id="rId28" Type="http://schemas.openxmlformats.org/officeDocument/2006/relationships/tags" Target="../tags/tag2627.xml"/><Relationship Id="rId36" Type="http://schemas.openxmlformats.org/officeDocument/2006/relationships/tags" Target="../tags/tag2635.xml"/><Relationship Id="rId49" Type="http://schemas.openxmlformats.org/officeDocument/2006/relationships/tags" Target="../tags/tag2648.xml"/><Relationship Id="rId57" Type="http://schemas.openxmlformats.org/officeDocument/2006/relationships/tags" Target="../tags/tag2656.xml"/><Relationship Id="rId106" Type="http://schemas.openxmlformats.org/officeDocument/2006/relationships/image" Target="../media/image12.emf"/><Relationship Id="rId10" Type="http://schemas.openxmlformats.org/officeDocument/2006/relationships/tags" Target="../tags/tag2609.xml"/><Relationship Id="rId31" Type="http://schemas.openxmlformats.org/officeDocument/2006/relationships/tags" Target="../tags/tag2630.xml"/><Relationship Id="rId44" Type="http://schemas.openxmlformats.org/officeDocument/2006/relationships/tags" Target="../tags/tag2643.xml"/><Relationship Id="rId52" Type="http://schemas.openxmlformats.org/officeDocument/2006/relationships/tags" Target="../tags/tag2651.xml"/><Relationship Id="rId60" Type="http://schemas.openxmlformats.org/officeDocument/2006/relationships/tags" Target="../tags/tag2659.xml"/><Relationship Id="rId65" Type="http://schemas.openxmlformats.org/officeDocument/2006/relationships/tags" Target="../tags/tag2664.xml"/><Relationship Id="rId73" Type="http://schemas.openxmlformats.org/officeDocument/2006/relationships/tags" Target="../tags/tag2672.xml"/><Relationship Id="rId78" Type="http://schemas.openxmlformats.org/officeDocument/2006/relationships/tags" Target="../tags/tag2677.xml"/><Relationship Id="rId81" Type="http://schemas.openxmlformats.org/officeDocument/2006/relationships/tags" Target="../tags/tag2680.xml"/><Relationship Id="rId86" Type="http://schemas.openxmlformats.org/officeDocument/2006/relationships/tags" Target="../tags/tag2685.xml"/><Relationship Id="rId94" Type="http://schemas.openxmlformats.org/officeDocument/2006/relationships/tags" Target="../tags/tag2693.xml"/><Relationship Id="rId99" Type="http://schemas.openxmlformats.org/officeDocument/2006/relationships/tags" Target="../tags/tag2698.xml"/><Relationship Id="rId101" Type="http://schemas.openxmlformats.org/officeDocument/2006/relationships/tags" Target="../tags/tag2700.xml"/><Relationship Id="rId4" Type="http://schemas.openxmlformats.org/officeDocument/2006/relationships/tags" Target="../tags/tag2603.xml"/><Relationship Id="rId9" Type="http://schemas.openxmlformats.org/officeDocument/2006/relationships/tags" Target="../tags/tag2608.xml"/><Relationship Id="rId13" Type="http://schemas.openxmlformats.org/officeDocument/2006/relationships/tags" Target="../tags/tag2612.xml"/><Relationship Id="rId18" Type="http://schemas.openxmlformats.org/officeDocument/2006/relationships/tags" Target="../tags/tag2617.xml"/><Relationship Id="rId39" Type="http://schemas.openxmlformats.org/officeDocument/2006/relationships/tags" Target="../tags/tag2638.xml"/><Relationship Id="rId34" Type="http://schemas.openxmlformats.org/officeDocument/2006/relationships/tags" Target="../tags/tag2633.xml"/><Relationship Id="rId50" Type="http://schemas.openxmlformats.org/officeDocument/2006/relationships/tags" Target="../tags/tag2649.xml"/><Relationship Id="rId55" Type="http://schemas.openxmlformats.org/officeDocument/2006/relationships/tags" Target="../tags/tag2654.xml"/><Relationship Id="rId76" Type="http://schemas.openxmlformats.org/officeDocument/2006/relationships/tags" Target="../tags/tag2675.xml"/><Relationship Id="rId97" Type="http://schemas.openxmlformats.org/officeDocument/2006/relationships/tags" Target="../tags/tag2696.xml"/><Relationship Id="rId104" Type="http://schemas.openxmlformats.org/officeDocument/2006/relationships/slideMaster" Target="../slideMasters/slideMaster13.xml"/><Relationship Id="rId7" Type="http://schemas.openxmlformats.org/officeDocument/2006/relationships/tags" Target="../tags/tag2606.xml"/><Relationship Id="rId71" Type="http://schemas.openxmlformats.org/officeDocument/2006/relationships/tags" Target="../tags/tag2670.xml"/><Relationship Id="rId92" Type="http://schemas.openxmlformats.org/officeDocument/2006/relationships/tags" Target="../tags/tag2691.xml"/><Relationship Id="rId2" Type="http://schemas.openxmlformats.org/officeDocument/2006/relationships/tags" Target="../tags/tag2601.xml"/><Relationship Id="rId29" Type="http://schemas.openxmlformats.org/officeDocument/2006/relationships/tags" Target="../tags/tag2628.xml"/><Relationship Id="rId24" Type="http://schemas.openxmlformats.org/officeDocument/2006/relationships/tags" Target="../tags/tag2623.xml"/><Relationship Id="rId40" Type="http://schemas.openxmlformats.org/officeDocument/2006/relationships/tags" Target="../tags/tag2639.xml"/><Relationship Id="rId45" Type="http://schemas.openxmlformats.org/officeDocument/2006/relationships/tags" Target="../tags/tag2644.xml"/><Relationship Id="rId66" Type="http://schemas.openxmlformats.org/officeDocument/2006/relationships/tags" Target="../tags/tag2665.xml"/><Relationship Id="rId87" Type="http://schemas.openxmlformats.org/officeDocument/2006/relationships/tags" Target="../tags/tag2686.xml"/><Relationship Id="rId61" Type="http://schemas.openxmlformats.org/officeDocument/2006/relationships/tags" Target="../tags/tag2660.xml"/><Relationship Id="rId82" Type="http://schemas.openxmlformats.org/officeDocument/2006/relationships/tags" Target="../tags/tag2681.xml"/><Relationship Id="rId19" Type="http://schemas.openxmlformats.org/officeDocument/2006/relationships/tags" Target="../tags/tag2618.xml"/><Relationship Id="rId14" Type="http://schemas.openxmlformats.org/officeDocument/2006/relationships/tags" Target="../tags/tag2613.xml"/><Relationship Id="rId30" Type="http://schemas.openxmlformats.org/officeDocument/2006/relationships/tags" Target="../tags/tag2629.xml"/><Relationship Id="rId35" Type="http://schemas.openxmlformats.org/officeDocument/2006/relationships/tags" Target="../tags/tag2634.xml"/><Relationship Id="rId56" Type="http://schemas.openxmlformats.org/officeDocument/2006/relationships/tags" Target="../tags/tag2655.xml"/><Relationship Id="rId77" Type="http://schemas.openxmlformats.org/officeDocument/2006/relationships/tags" Target="../tags/tag2676.xml"/><Relationship Id="rId100" Type="http://schemas.openxmlformats.org/officeDocument/2006/relationships/tags" Target="../tags/tag2699.xml"/><Relationship Id="rId105" Type="http://schemas.openxmlformats.org/officeDocument/2006/relationships/oleObject" Target="../embeddings/oleObject91.bin"/><Relationship Id="rId8" Type="http://schemas.openxmlformats.org/officeDocument/2006/relationships/tags" Target="../tags/tag2607.xml"/><Relationship Id="rId51" Type="http://schemas.openxmlformats.org/officeDocument/2006/relationships/tags" Target="../tags/tag2650.xml"/><Relationship Id="rId72" Type="http://schemas.openxmlformats.org/officeDocument/2006/relationships/tags" Target="../tags/tag2671.xml"/><Relationship Id="rId93" Type="http://schemas.openxmlformats.org/officeDocument/2006/relationships/tags" Target="../tags/tag2692.xml"/><Relationship Id="rId98" Type="http://schemas.openxmlformats.org/officeDocument/2006/relationships/tags" Target="../tags/tag2697.xml"/><Relationship Id="rId3" Type="http://schemas.openxmlformats.org/officeDocument/2006/relationships/tags" Target="../tags/tag2602.xml"/><Relationship Id="rId25" Type="http://schemas.openxmlformats.org/officeDocument/2006/relationships/tags" Target="../tags/tag2624.xml"/><Relationship Id="rId46" Type="http://schemas.openxmlformats.org/officeDocument/2006/relationships/tags" Target="../tags/tag2645.xml"/><Relationship Id="rId67" Type="http://schemas.openxmlformats.org/officeDocument/2006/relationships/tags" Target="../tags/tag266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2721.xml"/><Relationship Id="rId7" Type="http://schemas.openxmlformats.org/officeDocument/2006/relationships/image" Target="../media/image11.png"/><Relationship Id="rId2" Type="http://schemas.openxmlformats.org/officeDocument/2006/relationships/tags" Target="../tags/tag2720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1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2723.xml"/><Relationship Id="rId7" Type="http://schemas.openxmlformats.org/officeDocument/2006/relationships/image" Target="../media/image11.png"/><Relationship Id="rId2" Type="http://schemas.openxmlformats.org/officeDocument/2006/relationships/tags" Target="../tags/tag2722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1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2725.xml"/><Relationship Id="rId7" Type="http://schemas.openxmlformats.org/officeDocument/2006/relationships/image" Target="../media/image11.png"/><Relationship Id="rId2" Type="http://schemas.openxmlformats.org/officeDocument/2006/relationships/tags" Target="../tags/tag2724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14.xml"/></Relationships>
</file>

<file path=ppt/slideLayouts/_rels/slideLayout95.xml.rels><?xml version="1.0" encoding="UTF-8" standalone="yes"?>
<Relationships xmlns="http://schemas.openxmlformats.org/package/2006/relationships"><Relationship Id="rId26" Type="http://schemas.openxmlformats.org/officeDocument/2006/relationships/tags" Target="../tags/tag2750.xml"/><Relationship Id="rId21" Type="http://schemas.openxmlformats.org/officeDocument/2006/relationships/tags" Target="../tags/tag2745.xml"/><Relationship Id="rId42" Type="http://schemas.openxmlformats.org/officeDocument/2006/relationships/tags" Target="../tags/tag2766.xml"/><Relationship Id="rId47" Type="http://schemas.openxmlformats.org/officeDocument/2006/relationships/tags" Target="../tags/tag2771.xml"/><Relationship Id="rId63" Type="http://schemas.openxmlformats.org/officeDocument/2006/relationships/tags" Target="../tags/tag2787.xml"/><Relationship Id="rId68" Type="http://schemas.openxmlformats.org/officeDocument/2006/relationships/tags" Target="../tags/tag2792.xml"/><Relationship Id="rId84" Type="http://schemas.openxmlformats.org/officeDocument/2006/relationships/tags" Target="../tags/tag2808.xml"/><Relationship Id="rId89" Type="http://schemas.openxmlformats.org/officeDocument/2006/relationships/tags" Target="../tags/tag2813.xml"/><Relationship Id="rId16" Type="http://schemas.openxmlformats.org/officeDocument/2006/relationships/tags" Target="../tags/tag2740.xml"/><Relationship Id="rId11" Type="http://schemas.openxmlformats.org/officeDocument/2006/relationships/tags" Target="../tags/tag2735.xml"/><Relationship Id="rId32" Type="http://schemas.openxmlformats.org/officeDocument/2006/relationships/tags" Target="../tags/tag2756.xml"/><Relationship Id="rId37" Type="http://schemas.openxmlformats.org/officeDocument/2006/relationships/tags" Target="../tags/tag2761.xml"/><Relationship Id="rId53" Type="http://schemas.openxmlformats.org/officeDocument/2006/relationships/tags" Target="../tags/tag2777.xml"/><Relationship Id="rId58" Type="http://schemas.openxmlformats.org/officeDocument/2006/relationships/tags" Target="../tags/tag2782.xml"/><Relationship Id="rId74" Type="http://schemas.openxmlformats.org/officeDocument/2006/relationships/tags" Target="../tags/tag2798.xml"/><Relationship Id="rId79" Type="http://schemas.openxmlformats.org/officeDocument/2006/relationships/tags" Target="../tags/tag2803.xml"/><Relationship Id="rId5" Type="http://schemas.openxmlformats.org/officeDocument/2006/relationships/tags" Target="../tags/tag2729.xml"/><Relationship Id="rId90" Type="http://schemas.openxmlformats.org/officeDocument/2006/relationships/tags" Target="../tags/tag2814.xml"/><Relationship Id="rId95" Type="http://schemas.openxmlformats.org/officeDocument/2006/relationships/tags" Target="../tags/tag2819.xml"/><Relationship Id="rId22" Type="http://schemas.openxmlformats.org/officeDocument/2006/relationships/tags" Target="../tags/tag2746.xml"/><Relationship Id="rId27" Type="http://schemas.openxmlformats.org/officeDocument/2006/relationships/tags" Target="../tags/tag2751.xml"/><Relationship Id="rId43" Type="http://schemas.openxmlformats.org/officeDocument/2006/relationships/tags" Target="../tags/tag2767.xml"/><Relationship Id="rId48" Type="http://schemas.openxmlformats.org/officeDocument/2006/relationships/tags" Target="../tags/tag2772.xml"/><Relationship Id="rId64" Type="http://schemas.openxmlformats.org/officeDocument/2006/relationships/tags" Target="../tags/tag2788.xml"/><Relationship Id="rId69" Type="http://schemas.openxmlformats.org/officeDocument/2006/relationships/tags" Target="../tags/tag2793.xml"/><Relationship Id="rId80" Type="http://schemas.openxmlformats.org/officeDocument/2006/relationships/tags" Target="../tags/tag2804.xml"/><Relationship Id="rId85" Type="http://schemas.openxmlformats.org/officeDocument/2006/relationships/tags" Target="../tags/tag2809.xml"/><Relationship Id="rId3" Type="http://schemas.openxmlformats.org/officeDocument/2006/relationships/tags" Target="../tags/tag2727.xml"/><Relationship Id="rId12" Type="http://schemas.openxmlformats.org/officeDocument/2006/relationships/tags" Target="../tags/tag2736.xml"/><Relationship Id="rId17" Type="http://schemas.openxmlformats.org/officeDocument/2006/relationships/tags" Target="../tags/tag2741.xml"/><Relationship Id="rId25" Type="http://schemas.openxmlformats.org/officeDocument/2006/relationships/tags" Target="../tags/tag2749.xml"/><Relationship Id="rId33" Type="http://schemas.openxmlformats.org/officeDocument/2006/relationships/tags" Target="../tags/tag2757.xml"/><Relationship Id="rId38" Type="http://schemas.openxmlformats.org/officeDocument/2006/relationships/tags" Target="../tags/tag2762.xml"/><Relationship Id="rId46" Type="http://schemas.openxmlformats.org/officeDocument/2006/relationships/tags" Target="../tags/tag2770.xml"/><Relationship Id="rId59" Type="http://schemas.openxmlformats.org/officeDocument/2006/relationships/tags" Target="../tags/tag2783.xml"/><Relationship Id="rId67" Type="http://schemas.openxmlformats.org/officeDocument/2006/relationships/tags" Target="../tags/tag2791.xml"/><Relationship Id="rId20" Type="http://schemas.openxmlformats.org/officeDocument/2006/relationships/tags" Target="../tags/tag2744.xml"/><Relationship Id="rId41" Type="http://schemas.openxmlformats.org/officeDocument/2006/relationships/tags" Target="../tags/tag2765.xml"/><Relationship Id="rId54" Type="http://schemas.openxmlformats.org/officeDocument/2006/relationships/tags" Target="../tags/tag2778.xml"/><Relationship Id="rId62" Type="http://schemas.openxmlformats.org/officeDocument/2006/relationships/tags" Target="../tags/tag2786.xml"/><Relationship Id="rId70" Type="http://schemas.openxmlformats.org/officeDocument/2006/relationships/tags" Target="../tags/tag2794.xml"/><Relationship Id="rId75" Type="http://schemas.openxmlformats.org/officeDocument/2006/relationships/tags" Target="../tags/tag2799.xml"/><Relationship Id="rId83" Type="http://schemas.openxmlformats.org/officeDocument/2006/relationships/tags" Target="../tags/tag2807.xml"/><Relationship Id="rId88" Type="http://schemas.openxmlformats.org/officeDocument/2006/relationships/tags" Target="../tags/tag2812.xml"/><Relationship Id="rId91" Type="http://schemas.openxmlformats.org/officeDocument/2006/relationships/tags" Target="../tags/tag2815.xml"/><Relationship Id="rId96" Type="http://schemas.openxmlformats.org/officeDocument/2006/relationships/slideMaster" Target="../slideMasters/slideMaster14.xml"/><Relationship Id="rId1" Type="http://schemas.openxmlformats.org/officeDocument/2006/relationships/vmlDrawing" Target="../drawings/vmlDrawing96.vml"/><Relationship Id="rId6" Type="http://schemas.openxmlformats.org/officeDocument/2006/relationships/tags" Target="../tags/tag2730.xml"/><Relationship Id="rId15" Type="http://schemas.openxmlformats.org/officeDocument/2006/relationships/tags" Target="../tags/tag2739.xml"/><Relationship Id="rId23" Type="http://schemas.openxmlformats.org/officeDocument/2006/relationships/tags" Target="../tags/tag2747.xml"/><Relationship Id="rId28" Type="http://schemas.openxmlformats.org/officeDocument/2006/relationships/tags" Target="../tags/tag2752.xml"/><Relationship Id="rId36" Type="http://schemas.openxmlformats.org/officeDocument/2006/relationships/tags" Target="../tags/tag2760.xml"/><Relationship Id="rId49" Type="http://schemas.openxmlformats.org/officeDocument/2006/relationships/tags" Target="../tags/tag2773.xml"/><Relationship Id="rId57" Type="http://schemas.openxmlformats.org/officeDocument/2006/relationships/tags" Target="../tags/tag2781.xml"/><Relationship Id="rId10" Type="http://schemas.openxmlformats.org/officeDocument/2006/relationships/tags" Target="../tags/tag2734.xml"/><Relationship Id="rId31" Type="http://schemas.openxmlformats.org/officeDocument/2006/relationships/tags" Target="../tags/tag2755.xml"/><Relationship Id="rId44" Type="http://schemas.openxmlformats.org/officeDocument/2006/relationships/tags" Target="../tags/tag2768.xml"/><Relationship Id="rId52" Type="http://schemas.openxmlformats.org/officeDocument/2006/relationships/tags" Target="../tags/tag2776.xml"/><Relationship Id="rId60" Type="http://schemas.openxmlformats.org/officeDocument/2006/relationships/tags" Target="../tags/tag2784.xml"/><Relationship Id="rId65" Type="http://schemas.openxmlformats.org/officeDocument/2006/relationships/tags" Target="../tags/tag2789.xml"/><Relationship Id="rId73" Type="http://schemas.openxmlformats.org/officeDocument/2006/relationships/tags" Target="../tags/tag2797.xml"/><Relationship Id="rId78" Type="http://schemas.openxmlformats.org/officeDocument/2006/relationships/tags" Target="../tags/tag2802.xml"/><Relationship Id="rId81" Type="http://schemas.openxmlformats.org/officeDocument/2006/relationships/tags" Target="../tags/tag2805.xml"/><Relationship Id="rId86" Type="http://schemas.openxmlformats.org/officeDocument/2006/relationships/tags" Target="../tags/tag2810.xml"/><Relationship Id="rId94" Type="http://schemas.openxmlformats.org/officeDocument/2006/relationships/tags" Target="../tags/tag2818.xml"/><Relationship Id="rId4" Type="http://schemas.openxmlformats.org/officeDocument/2006/relationships/tags" Target="../tags/tag2728.xml"/><Relationship Id="rId9" Type="http://schemas.openxmlformats.org/officeDocument/2006/relationships/tags" Target="../tags/tag2733.xml"/><Relationship Id="rId13" Type="http://schemas.openxmlformats.org/officeDocument/2006/relationships/tags" Target="../tags/tag2737.xml"/><Relationship Id="rId18" Type="http://schemas.openxmlformats.org/officeDocument/2006/relationships/tags" Target="../tags/tag2742.xml"/><Relationship Id="rId39" Type="http://schemas.openxmlformats.org/officeDocument/2006/relationships/tags" Target="../tags/tag2763.xml"/><Relationship Id="rId34" Type="http://schemas.openxmlformats.org/officeDocument/2006/relationships/tags" Target="../tags/tag2758.xml"/><Relationship Id="rId50" Type="http://schemas.openxmlformats.org/officeDocument/2006/relationships/tags" Target="../tags/tag2774.xml"/><Relationship Id="rId55" Type="http://schemas.openxmlformats.org/officeDocument/2006/relationships/tags" Target="../tags/tag2779.xml"/><Relationship Id="rId76" Type="http://schemas.openxmlformats.org/officeDocument/2006/relationships/tags" Target="../tags/tag2800.xml"/><Relationship Id="rId97" Type="http://schemas.openxmlformats.org/officeDocument/2006/relationships/oleObject" Target="../embeddings/oleObject96.bin"/><Relationship Id="rId7" Type="http://schemas.openxmlformats.org/officeDocument/2006/relationships/tags" Target="../tags/tag2731.xml"/><Relationship Id="rId71" Type="http://schemas.openxmlformats.org/officeDocument/2006/relationships/tags" Target="../tags/tag2795.xml"/><Relationship Id="rId92" Type="http://schemas.openxmlformats.org/officeDocument/2006/relationships/tags" Target="../tags/tag2816.xml"/><Relationship Id="rId2" Type="http://schemas.openxmlformats.org/officeDocument/2006/relationships/tags" Target="../tags/tag2726.xml"/><Relationship Id="rId29" Type="http://schemas.openxmlformats.org/officeDocument/2006/relationships/tags" Target="../tags/tag2753.xml"/><Relationship Id="rId24" Type="http://schemas.openxmlformats.org/officeDocument/2006/relationships/tags" Target="../tags/tag2748.xml"/><Relationship Id="rId40" Type="http://schemas.openxmlformats.org/officeDocument/2006/relationships/tags" Target="../tags/tag2764.xml"/><Relationship Id="rId45" Type="http://schemas.openxmlformats.org/officeDocument/2006/relationships/tags" Target="../tags/tag2769.xml"/><Relationship Id="rId66" Type="http://schemas.openxmlformats.org/officeDocument/2006/relationships/tags" Target="../tags/tag2790.xml"/><Relationship Id="rId87" Type="http://schemas.openxmlformats.org/officeDocument/2006/relationships/tags" Target="../tags/tag2811.xml"/><Relationship Id="rId61" Type="http://schemas.openxmlformats.org/officeDocument/2006/relationships/tags" Target="../tags/tag2785.xml"/><Relationship Id="rId82" Type="http://schemas.openxmlformats.org/officeDocument/2006/relationships/tags" Target="../tags/tag2806.xml"/><Relationship Id="rId19" Type="http://schemas.openxmlformats.org/officeDocument/2006/relationships/tags" Target="../tags/tag2743.xml"/><Relationship Id="rId14" Type="http://schemas.openxmlformats.org/officeDocument/2006/relationships/tags" Target="../tags/tag2738.xml"/><Relationship Id="rId30" Type="http://schemas.openxmlformats.org/officeDocument/2006/relationships/tags" Target="../tags/tag2754.xml"/><Relationship Id="rId35" Type="http://schemas.openxmlformats.org/officeDocument/2006/relationships/tags" Target="../tags/tag2759.xml"/><Relationship Id="rId56" Type="http://schemas.openxmlformats.org/officeDocument/2006/relationships/tags" Target="../tags/tag2780.xml"/><Relationship Id="rId77" Type="http://schemas.openxmlformats.org/officeDocument/2006/relationships/tags" Target="../tags/tag2801.xml"/><Relationship Id="rId8" Type="http://schemas.openxmlformats.org/officeDocument/2006/relationships/tags" Target="../tags/tag2732.xml"/><Relationship Id="rId51" Type="http://schemas.openxmlformats.org/officeDocument/2006/relationships/tags" Target="../tags/tag2775.xml"/><Relationship Id="rId72" Type="http://schemas.openxmlformats.org/officeDocument/2006/relationships/tags" Target="../tags/tag2796.xml"/><Relationship Id="rId93" Type="http://schemas.openxmlformats.org/officeDocument/2006/relationships/tags" Target="../tags/tag2817.xml"/><Relationship Id="rId98" Type="http://schemas.openxmlformats.org/officeDocument/2006/relationships/image" Target="../media/image12.emf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8.xml.rels><?xml version="1.0" encoding="UTF-8" standalone="yes"?>
<Relationships xmlns="http://schemas.openxmlformats.org/package/2006/relationships"><Relationship Id="rId26" Type="http://schemas.openxmlformats.org/officeDocument/2006/relationships/tags" Target="../tags/tag2844.xml"/><Relationship Id="rId21" Type="http://schemas.openxmlformats.org/officeDocument/2006/relationships/tags" Target="../tags/tag2839.xml"/><Relationship Id="rId42" Type="http://schemas.openxmlformats.org/officeDocument/2006/relationships/tags" Target="../tags/tag2860.xml"/><Relationship Id="rId47" Type="http://schemas.openxmlformats.org/officeDocument/2006/relationships/tags" Target="../tags/tag2865.xml"/><Relationship Id="rId63" Type="http://schemas.openxmlformats.org/officeDocument/2006/relationships/tags" Target="../tags/tag2881.xml"/><Relationship Id="rId68" Type="http://schemas.openxmlformats.org/officeDocument/2006/relationships/tags" Target="../tags/tag2886.xml"/><Relationship Id="rId84" Type="http://schemas.openxmlformats.org/officeDocument/2006/relationships/tags" Target="../tags/tag2902.xml"/><Relationship Id="rId89" Type="http://schemas.openxmlformats.org/officeDocument/2006/relationships/tags" Target="../tags/tag2907.xml"/><Relationship Id="rId16" Type="http://schemas.openxmlformats.org/officeDocument/2006/relationships/tags" Target="../tags/tag2834.xml"/><Relationship Id="rId11" Type="http://schemas.openxmlformats.org/officeDocument/2006/relationships/tags" Target="../tags/tag2829.xml"/><Relationship Id="rId32" Type="http://schemas.openxmlformats.org/officeDocument/2006/relationships/tags" Target="../tags/tag2850.xml"/><Relationship Id="rId37" Type="http://schemas.openxmlformats.org/officeDocument/2006/relationships/tags" Target="../tags/tag2855.xml"/><Relationship Id="rId53" Type="http://schemas.openxmlformats.org/officeDocument/2006/relationships/tags" Target="../tags/tag2871.xml"/><Relationship Id="rId58" Type="http://schemas.openxmlformats.org/officeDocument/2006/relationships/tags" Target="../tags/tag2876.xml"/><Relationship Id="rId74" Type="http://schemas.openxmlformats.org/officeDocument/2006/relationships/tags" Target="../tags/tag2892.xml"/><Relationship Id="rId79" Type="http://schemas.openxmlformats.org/officeDocument/2006/relationships/tags" Target="../tags/tag2897.xml"/><Relationship Id="rId5" Type="http://schemas.openxmlformats.org/officeDocument/2006/relationships/tags" Target="../tags/tag2823.xml"/><Relationship Id="rId90" Type="http://schemas.openxmlformats.org/officeDocument/2006/relationships/tags" Target="../tags/tag2908.xml"/><Relationship Id="rId95" Type="http://schemas.openxmlformats.org/officeDocument/2006/relationships/slideMaster" Target="../slideMasters/slideMaster14.xml"/><Relationship Id="rId22" Type="http://schemas.openxmlformats.org/officeDocument/2006/relationships/tags" Target="../tags/tag2840.xml"/><Relationship Id="rId27" Type="http://schemas.openxmlformats.org/officeDocument/2006/relationships/tags" Target="../tags/tag2845.xml"/><Relationship Id="rId43" Type="http://schemas.openxmlformats.org/officeDocument/2006/relationships/tags" Target="../tags/tag2861.xml"/><Relationship Id="rId48" Type="http://schemas.openxmlformats.org/officeDocument/2006/relationships/tags" Target="../tags/tag2866.xml"/><Relationship Id="rId64" Type="http://schemas.openxmlformats.org/officeDocument/2006/relationships/tags" Target="../tags/tag2882.xml"/><Relationship Id="rId69" Type="http://schemas.openxmlformats.org/officeDocument/2006/relationships/tags" Target="../tags/tag2887.xml"/><Relationship Id="rId80" Type="http://schemas.openxmlformats.org/officeDocument/2006/relationships/tags" Target="../tags/tag2898.xml"/><Relationship Id="rId85" Type="http://schemas.openxmlformats.org/officeDocument/2006/relationships/tags" Target="../tags/tag2903.xml"/><Relationship Id="rId3" Type="http://schemas.openxmlformats.org/officeDocument/2006/relationships/tags" Target="../tags/tag2821.xml"/><Relationship Id="rId12" Type="http://schemas.openxmlformats.org/officeDocument/2006/relationships/tags" Target="../tags/tag2830.xml"/><Relationship Id="rId17" Type="http://schemas.openxmlformats.org/officeDocument/2006/relationships/tags" Target="../tags/tag2835.xml"/><Relationship Id="rId25" Type="http://schemas.openxmlformats.org/officeDocument/2006/relationships/tags" Target="../tags/tag2843.xml"/><Relationship Id="rId33" Type="http://schemas.openxmlformats.org/officeDocument/2006/relationships/tags" Target="../tags/tag2851.xml"/><Relationship Id="rId38" Type="http://schemas.openxmlformats.org/officeDocument/2006/relationships/tags" Target="../tags/tag2856.xml"/><Relationship Id="rId46" Type="http://schemas.openxmlformats.org/officeDocument/2006/relationships/tags" Target="../tags/tag2864.xml"/><Relationship Id="rId59" Type="http://schemas.openxmlformats.org/officeDocument/2006/relationships/tags" Target="../tags/tag2877.xml"/><Relationship Id="rId67" Type="http://schemas.openxmlformats.org/officeDocument/2006/relationships/tags" Target="../tags/tag2885.xml"/><Relationship Id="rId20" Type="http://schemas.openxmlformats.org/officeDocument/2006/relationships/tags" Target="../tags/tag2838.xml"/><Relationship Id="rId41" Type="http://schemas.openxmlformats.org/officeDocument/2006/relationships/tags" Target="../tags/tag2859.xml"/><Relationship Id="rId54" Type="http://schemas.openxmlformats.org/officeDocument/2006/relationships/tags" Target="../tags/tag2872.xml"/><Relationship Id="rId62" Type="http://schemas.openxmlformats.org/officeDocument/2006/relationships/tags" Target="../tags/tag2880.xml"/><Relationship Id="rId70" Type="http://schemas.openxmlformats.org/officeDocument/2006/relationships/tags" Target="../tags/tag2888.xml"/><Relationship Id="rId75" Type="http://schemas.openxmlformats.org/officeDocument/2006/relationships/tags" Target="../tags/tag2893.xml"/><Relationship Id="rId83" Type="http://schemas.openxmlformats.org/officeDocument/2006/relationships/tags" Target="../tags/tag2901.xml"/><Relationship Id="rId88" Type="http://schemas.openxmlformats.org/officeDocument/2006/relationships/tags" Target="../tags/tag2906.xml"/><Relationship Id="rId91" Type="http://schemas.openxmlformats.org/officeDocument/2006/relationships/tags" Target="../tags/tag2909.xml"/><Relationship Id="rId96" Type="http://schemas.openxmlformats.org/officeDocument/2006/relationships/oleObject" Target="../embeddings/oleObject97.bin"/><Relationship Id="rId1" Type="http://schemas.openxmlformats.org/officeDocument/2006/relationships/vmlDrawing" Target="../drawings/vmlDrawing97.vml"/><Relationship Id="rId6" Type="http://schemas.openxmlformats.org/officeDocument/2006/relationships/tags" Target="../tags/tag2824.xml"/><Relationship Id="rId15" Type="http://schemas.openxmlformats.org/officeDocument/2006/relationships/tags" Target="../tags/tag2833.xml"/><Relationship Id="rId23" Type="http://schemas.openxmlformats.org/officeDocument/2006/relationships/tags" Target="../tags/tag2841.xml"/><Relationship Id="rId28" Type="http://schemas.openxmlformats.org/officeDocument/2006/relationships/tags" Target="../tags/tag2846.xml"/><Relationship Id="rId36" Type="http://schemas.openxmlformats.org/officeDocument/2006/relationships/tags" Target="../tags/tag2854.xml"/><Relationship Id="rId49" Type="http://schemas.openxmlformats.org/officeDocument/2006/relationships/tags" Target="../tags/tag2867.xml"/><Relationship Id="rId57" Type="http://schemas.openxmlformats.org/officeDocument/2006/relationships/tags" Target="../tags/tag2875.xml"/><Relationship Id="rId10" Type="http://schemas.openxmlformats.org/officeDocument/2006/relationships/tags" Target="../tags/tag2828.xml"/><Relationship Id="rId31" Type="http://schemas.openxmlformats.org/officeDocument/2006/relationships/tags" Target="../tags/tag2849.xml"/><Relationship Id="rId44" Type="http://schemas.openxmlformats.org/officeDocument/2006/relationships/tags" Target="../tags/tag2862.xml"/><Relationship Id="rId52" Type="http://schemas.openxmlformats.org/officeDocument/2006/relationships/tags" Target="../tags/tag2870.xml"/><Relationship Id="rId60" Type="http://schemas.openxmlformats.org/officeDocument/2006/relationships/tags" Target="../tags/tag2878.xml"/><Relationship Id="rId65" Type="http://schemas.openxmlformats.org/officeDocument/2006/relationships/tags" Target="../tags/tag2883.xml"/><Relationship Id="rId73" Type="http://schemas.openxmlformats.org/officeDocument/2006/relationships/tags" Target="../tags/tag2891.xml"/><Relationship Id="rId78" Type="http://schemas.openxmlformats.org/officeDocument/2006/relationships/tags" Target="../tags/tag2896.xml"/><Relationship Id="rId81" Type="http://schemas.openxmlformats.org/officeDocument/2006/relationships/tags" Target="../tags/tag2899.xml"/><Relationship Id="rId86" Type="http://schemas.openxmlformats.org/officeDocument/2006/relationships/tags" Target="../tags/tag2904.xml"/><Relationship Id="rId94" Type="http://schemas.openxmlformats.org/officeDocument/2006/relationships/tags" Target="../tags/tag2912.xml"/><Relationship Id="rId4" Type="http://schemas.openxmlformats.org/officeDocument/2006/relationships/tags" Target="../tags/tag2822.xml"/><Relationship Id="rId9" Type="http://schemas.openxmlformats.org/officeDocument/2006/relationships/tags" Target="../tags/tag2827.xml"/><Relationship Id="rId13" Type="http://schemas.openxmlformats.org/officeDocument/2006/relationships/tags" Target="../tags/tag2831.xml"/><Relationship Id="rId18" Type="http://schemas.openxmlformats.org/officeDocument/2006/relationships/tags" Target="../tags/tag2836.xml"/><Relationship Id="rId39" Type="http://schemas.openxmlformats.org/officeDocument/2006/relationships/tags" Target="../tags/tag2857.xml"/><Relationship Id="rId34" Type="http://schemas.openxmlformats.org/officeDocument/2006/relationships/tags" Target="../tags/tag2852.xml"/><Relationship Id="rId50" Type="http://schemas.openxmlformats.org/officeDocument/2006/relationships/tags" Target="../tags/tag2868.xml"/><Relationship Id="rId55" Type="http://schemas.openxmlformats.org/officeDocument/2006/relationships/tags" Target="../tags/tag2873.xml"/><Relationship Id="rId76" Type="http://schemas.openxmlformats.org/officeDocument/2006/relationships/tags" Target="../tags/tag2894.xml"/><Relationship Id="rId97" Type="http://schemas.openxmlformats.org/officeDocument/2006/relationships/image" Target="../media/image12.emf"/><Relationship Id="rId7" Type="http://schemas.openxmlformats.org/officeDocument/2006/relationships/tags" Target="../tags/tag2825.xml"/><Relationship Id="rId71" Type="http://schemas.openxmlformats.org/officeDocument/2006/relationships/tags" Target="../tags/tag2889.xml"/><Relationship Id="rId92" Type="http://schemas.openxmlformats.org/officeDocument/2006/relationships/tags" Target="../tags/tag2910.xml"/><Relationship Id="rId2" Type="http://schemas.openxmlformats.org/officeDocument/2006/relationships/tags" Target="../tags/tag2820.xml"/><Relationship Id="rId29" Type="http://schemas.openxmlformats.org/officeDocument/2006/relationships/tags" Target="../tags/tag2847.xml"/><Relationship Id="rId24" Type="http://schemas.openxmlformats.org/officeDocument/2006/relationships/tags" Target="../tags/tag2842.xml"/><Relationship Id="rId40" Type="http://schemas.openxmlformats.org/officeDocument/2006/relationships/tags" Target="../tags/tag2858.xml"/><Relationship Id="rId45" Type="http://schemas.openxmlformats.org/officeDocument/2006/relationships/tags" Target="../tags/tag2863.xml"/><Relationship Id="rId66" Type="http://schemas.openxmlformats.org/officeDocument/2006/relationships/tags" Target="../tags/tag2884.xml"/><Relationship Id="rId87" Type="http://schemas.openxmlformats.org/officeDocument/2006/relationships/tags" Target="../tags/tag2905.xml"/><Relationship Id="rId61" Type="http://schemas.openxmlformats.org/officeDocument/2006/relationships/tags" Target="../tags/tag2879.xml"/><Relationship Id="rId82" Type="http://schemas.openxmlformats.org/officeDocument/2006/relationships/tags" Target="../tags/tag2900.xml"/><Relationship Id="rId19" Type="http://schemas.openxmlformats.org/officeDocument/2006/relationships/tags" Target="../tags/tag2837.xml"/><Relationship Id="rId14" Type="http://schemas.openxmlformats.org/officeDocument/2006/relationships/tags" Target="../tags/tag2832.xml"/><Relationship Id="rId30" Type="http://schemas.openxmlformats.org/officeDocument/2006/relationships/tags" Target="../tags/tag2848.xml"/><Relationship Id="rId35" Type="http://schemas.openxmlformats.org/officeDocument/2006/relationships/tags" Target="../tags/tag2853.xml"/><Relationship Id="rId56" Type="http://schemas.openxmlformats.org/officeDocument/2006/relationships/tags" Target="../tags/tag2874.xml"/><Relationship Id="rId77" Type="http://schemas.openxmlformats.org/officeDocument/2006/relationships/tags" Target="../tags/tag2895.xml"/><Relationship Id="rId8" Type="http://schemas.openxmlformats.org/officeDocument/2006/relationships/tags" Target="../tags/tag2826.xml"/><Relationship Id="rId51" Type="http://schemas.openxmlformats.org/officeDocument/2006/relationships/tags" Target="../tags/tag2869.xml"/><Relationship Id="rId72" Type="http://schemas.openxmlformats.org/officeDocument/2006/relationships/tags" Target="../tags/tag2890.xml"/><Relationship Id="rId93" Type="http://schemas.openxmlformats.org/officeDocument/2006/relationships/tags" Target="../tags/tag29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203713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-7289" y="0"/>
            <a:ext cx="12206577" cy="4999181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 3/10/2020 8:41 AM Indi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vert="horz"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15" name="Document type" hidden="1"/>
          <p:cNvSpPr txBox="1">
            <a:spLocks noChangeArrowheads="1"/>
          </p:cNvSpPr>
          <p:nvPr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13240" name="Picture 600" descr="C:\Users\MYTHIL~1\AppData\Local\Temp\notes1FCF23\~b522205.TMP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8966559" y="6007013"/>
            <a:ext cx="3028144" cy="64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72124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0B3EE2-0917-4527-839B-478DE0399B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939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pt-BR" sz="1020" b="0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3708" y="1914726"/>
            <a:ext cx="4740388" cy="954991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>
          <a:xfrm>
            <a:off x="2013709" y="3449114"/>
            <a:ext cx="8840220" cy="89524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br>
              <a:rPr lang="en-US"/>
            </a:br>
            <a:endParaRPr lang="en-SG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1027"/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FIDENTI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5696B39-C6BC-2942-B3EF-F326C107995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737680"/>
            <a:ext cx="12191567" cy="136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225453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EC25962-96E5-44A4-8763-2DBED4A8A3F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939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62896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F30AB8B-E96D-4543-9D2E-806BFD8F4D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F30AB8B-E96D-4543-9D2E-806BFD8F4D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 bwMode="auto">
          <a:xfrm>
            <a:off x="1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1027"/>
          <p:cNvSpPr txBox="1">
            <a:spLocks noChangeArrowheads="1"/>
          </p:cNvSpPr>
          <p:nvPr userDrawn="1"/>
        </p:nvSpPr>
        <p:spPr bwMode="auto">
          <a:xfrm>
            <a:off x="4568399" y="6632166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462460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443DEBF-582B-40D2-8B45-D6344D84F0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73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extBox 4"/>
          <p:cNvSpPr txBox="1">
            <a:spLocks/>
          </p:cNvSpPr>
          <p:nvPr userDrawn="1">
            <p:custDataLst>
              <p:tags r:id="rId4"/>
            </p:custDataLst>
          </p:nvPr>
        </p:nvSpPr>
        <p:spPr bwMode="ltGray">
          <a:xfrm>
            <a:off x="0" y="1956050"/>
            <a:ext cx="12189840" cy="3311363"/>
          </a:xfrm>
          <a:prstGeom prst="rect">
            <a:avLst/>
          </a:prstGeom>
          <a:solidFill>
            <a:schemeClr val="bg1">
              <a:alpha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7747" tIns="77747" rIns="77747" bIns="77747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837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60224" y="409920"/>
            <a:ext cx="1032055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b="1" baseline="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60224" y="568655"/>
            <a:ext cx="3025835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18" baseline="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1/7/2017 9:16 AM Arabian Standard Time</a:t>
            </a:r>
            <a:endParaRPr lang="en-US" sz="918" baseline="0" noProof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60222" y="729010"/>
            <a:ext cx="2471372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baseline="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/5/2016 5:38 AM India Standard Time</a:t>
            </a:r>
          </a:p>
        </p:txBody>
      </p:sp>
      <p:sp>
        <p:nvSpPr>
          <p:cNvPr id="27" name="doc id"/>
          <p:cNvSpPr>
            <a:spLocks noChangeArrowheads="1"/>
          </p:cNvSpPr>
          <p:nvPr userDrawn="1"/>
        </p:nvSpPr>
        <p:spPr bwMode="auto">
          <a:xfrm>
            <a:off x="10792457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3"/>
            <a:endParaRPr lang="en-US" sz="816" baseline="0" noProof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7" name="Picture 50" descr="http://digitaleyeuae.com/images/clients/events_photographers_dubai_4.gif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0198865" y="6447074"/>
            <a:ext cx="1829983" cy="363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36072" y="211136"/>
            <a:ext cx="11350537" cy="56525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73" b="1" baseline="0">
                <a:solidFill>
                  <a:schemeClr val="accent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grpSp>
        <p:nvGrpSpPr>
          <p:cNvPr id="8" name="Title Elements" hidden="1"/>
          <p:cNvGrpSpPr>
            <a:grpSpLocks/>
          </p:cNvGrpSpPr>
          <p:nvPr userDrawn="1"/>
        </p:nvGrpSpPr>
        <p:grpSpPr bwMode="auto">
          <a:xfrm>
            <a:off x="560223" y="4543409"/>
            <a:ext cx="10065931" cy="560434"/>
            <a:chOff x="1663" y="3084"/>
            <a:chExt cx="3109" cy="346"/>
          </a:xfrm>
        </p:grpSpPr>
        <p:sp>
          <p:nvSpPr>
            <p:cNvPr id="9" name="Title Elements"/>
            <p:cNvSpPr txBox="1">
              <a:spLocks noChangeArrowheads="1"/>
            </p:cNvSpPr>
            <p:nvPr/>
          </p:nvSpPr>
          <p:spPr bwMode="auto">
            <a:xfrm>
              <a:off x="1663" y="3084"/>
              <a:ext cx="3109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32" baseline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</a:p>
          </p:txBody>
        </p:sp>
        <p:sp>
          <p:nvSpPr>
            <p:cNvPr id="10" name="Title Elements"/>
            <p:cNvSpPr txBox="1">
              <a:spLocks noChangeArrowheads="1"/>
            </p:cNvSpPr>
            <p:nvPr/>
          </p:nvSpPr>
          <p:spPr bwMode="auto">
            <a:xfrm>
              <a:off x="1663" y="3272"/>
              <a:ext cx="3109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32" baseline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</a:p>
          </p:txBody>
        </p:sp>
      </p:grp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36072" y="931922"/>
            <a:ext cx="11350537" cy="251222"/>
          </a:xfrm>
        </p:spPr>
        <p:txBody>
          <a:bodyPr wrap="square">
            <a:spAutoFit/>
          </a:bodyPr>
          <a:lstStyle>
            <a:lvl1pPr>
              <a:defRPr sz="1632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5" name="Rectangle 1027"/>
          <p:cNvSpPr txBox="1">
            <a:spLocks noChangeArrowheads="1"/>
          </p:cNvSpPr>
          <p:nvPr userDrawn="1"/>
        </p:nvSpPr>
        <p:spPr bwMode="auto">
          <a:xfrm>
            <a:off x="4568399" y="6632166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FIDENTIAL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649189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pt-BR" sz="1020" b="0" i="0" baseline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ctangle 1027"/>
          <p:cNvSpPr txBox="1">
            <a:spLocks noChangeArrowheads="1"/>
          </p:cNvSpPr>
          <p:nvPr userDrawn="1"/>
        </p:nvSpPr>
        <p:spPr bwMode="auto">
          <a:xfrm>
            <a:off x="320753" y="6632166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714" b="0" ker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nsformatio</a:t>
            </a:r>
            <a:r>
              <a:rPr lang="en-US" sz="714" b="0" kern="0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 Management Office </a:t>
            </a:r>
            <a:endParaRPr lang="en-US" sz="714" b="0" kern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35377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D29D5F-4744-A648-9F62-EC34315F81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95B507-B0D7-7246-AFA6-9FB78D799F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8FA512-3973-7E48-9911-E20E360E49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445A3B-4DFB-8C44-B533-2FE140D93F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11307D-9AA1-044D-B692-EB2FC6A32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189FEE-A83B-8B44-B7BA-DB8D214D00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36771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233259" y="234863"/>
            <a:ext cx="10711261" cy="255331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Automotive</a:t>
            </a:r>
          </a:p>
        </p:txBody>
      </p:sp>
    </p:spTree>
    <p:extLst>
      <p:ext uri="{BB962C8B-B14F-4D97-AF65-F5344CB8AC3E}">
        <p14:creationId xmlns:p14="http://schemas.microsoft.com/office/powerpoint/2010/main" val="27838853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12/08/2020 04:05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5/07/2020 16:01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13240" name="Picture 600" descr="C:\Users\MYTHIL~1\AppData\Local\Temp\notes1FCF23\~b522205.TMP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8966559" y="6007013"/>
            <a:ext cx="3028144" cy="64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19EF3A-3418-4F52-82F5-DEB9FFB4CD8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" y="0"/>
            <a:ext cx="12192000" cy="501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148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109563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66263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5015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1460103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3239"/>
            <a:ext cx="12191028" cy="606432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/>
        </p:nvSpPr>
        <p:spPr bwMode="ltGray">
          <a:xfrm>
            <a:off x="488407" y="2140465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ltGray">
          <a:xfrm>
            <a:off x="488407" y="228335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ltGray">
          <a:xfrm>
            <a:off x="488407" y="242624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 3/10/2020 8:41 AM Indi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88407" y="4874187"/>
            <a:ext cx="8050193" cy="502445"/>
          </a:xfrm>
          <a:prstGeom prst="rect">
            <a:avLst/>
          </a:prstGeom>
        </p:spPr>
        <p:txBody>
          <a:bodyPr vert="horz" wrap="square" anchor="t">
            <a:spAutoFit/>
          </a:bodyPr>
          <a:lstStyle>
            <a:lvl1pPr>
              <a:defRPr lang="x-none"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488407" y="5644140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15" name="Document type" hidden="1"/>
          <p:cNvSpPr txBox="1">
            <a:spLocks noChangeArrowheads="1"/>
          </p:cNvSpPr>
          <p:nvPr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13240" name="Picture 600" descr="C:\Users\MYTHIL~1\AppData\Local\Temp\notes1FCF23\~b522205.TMP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71170" y="414533"/>
            <a:ext cx="3028144" cy="64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34291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12/08/2020 04:05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5/07/2020 16:01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13240" name="Picture 600" descr="C:\Users\MYTHIL~1\AppData\Local\Temp\notes1FCF23\~b522205.TMP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8966559" y="6007013"/>
            <a:ext cx="3028144" cy="64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19EF3A-3418-4F52-82F5-DEB9FFB4CD8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" y="0"/>
            <a:ext cx="12192000" cy="501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950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99838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19301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39070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4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594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0B3EE2-0917-4527-839B-478DE0399B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4"/>
            <a:ext cx="158750" cy="1587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79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>
          <a:xfrm>
            <a:off x="2013716" y="3449115"/>
            <a:ext cx="8840220" cy="82638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br>
              <a:rPr lang="en-US"/>
            </a:br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785230069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7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7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EC25962-96E5-44A4-8763-2DBED4A8A3F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4"/>
            <a:ext cx="158750" cy="1587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79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71384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F30AB8B-E96D-4543-9D2E-806BFD8F4D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F30AB8B-E96D-4543-9D2E-806BFD8F4D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518722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7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7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443DEBF-582B-40D2-8B45-D6344D84F0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4"/>
            <a:ext cx="158750" cy="1587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391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extBox 4"/>
          <p:cNvSpPr txBox="1">
            <a:spLocks/>
          </p:cNvSpPr>
          <p:nvPr userDrawn="1">
            <p:custDataLst>
              <p:tags r:id="rId4"/>
            </p:custDataLst>
          </p:nvPr>
        </p:nvSpPr>
        <p:spPr bwMode="ltGray">
          <a:xfrm>
            <a:off x="1" y="1956054"/>
            <a:ext cx="12189840" cy="3311363"/>
          </a:xfrm>
          <a:prstGeom prst="rect">
            <a:avLst/>
          </a:prstGeom>
          <a:solidFill>
            <a:schemeClr val="bg1">
              <a:alpha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1765" tIns="71765" rIns="71765" bIns="71765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695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60226" y="409925"/>
            <a:ext cx="955183" cy="133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b="1" baseline="0" noProof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60226" y="568660"/>
            <a:ext cx="2811575" cy="133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847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1/7/2017 9:16 AM Arabian Standard Time</a:t>
            </a:r>
            <a:endParaRPr lang="en-US" sz="847" baseline="0" noProof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60224" y="729014"/>
            <a:ext cx="2298000" cy="133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/5/2016 5:38 AM India Standard Time</a:t>
            </a:r>
          </a:p>
        </p:txBody>
      </p:sp>
      <p:sp>
        <p:nvSpPr>
          <p:cNvPr id="27" name="doc id"/>
          <p:cNvSpPr>
            <a:spLocks noChangeArrowheads="1"/>
          </p:cNvSpPr>
          <p:nvPr userDrawn="1"/>
        </p:nvSpPr>
        <p:spPr bwMode="auto">
          <a:xfrm>
            <a:off x="10792460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43222"/>
            <a:endParaRPr lang="en-US" sz="753" baseline="0" noProof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36079" y="211137"/>
            <a:ext cx="11350537" cy="5218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391" b="1" baseline="0">
                <a:solidFill>
                  <a:schemeClr val="accent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grpSp>
        <p:nvGrpSpPr>
          <p:cNvPr id="8" name="Title Elements" hidden="1"/>
          <p:cNvGrpSpPr>
            <a:grpSpLocks/>
          </p:cNvGrpSpPr>
          <p:nvPr userDrawn="1"/>
        </p:nvGrpSpPr>
        <p:grpSpPr bwMode="auto">
          <a:xfrm>
            <a:off x="560229" y="4562867"/>
            <a:ext cx="10065931" cy="540998"/>
            <a:chOff x="1663" y="3096"/>
            <a:chExt cx="3109" cy="334"/>
          </a:xfrm>
        </p:grpSpPr>
        <p:sp>
          <p:nvSpPr>
            <p:cNvPr id="9" name="Title Elements"/>
            <p:cNvSpPr txBox="1">
              <a:spLocks noChangeArrowheads="1"/>
            </p:cNvSpPr>
            <p:nvPr/>
          </p:nvSpPr>
          <p:spPr bwMode="auto">
            <a:xfrm>
              <a:off x="1663" y="3096"/>
              <a:ext cx="3109" cy="1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506" baseline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</a:p>
          </p:txBody>
        </p:sp>
        <p:sp>
          <p:nvSpPr>
            <p:cNvPr id="10" name="Title Elements"/>
            <p:cNvSpPr txBox="1">
              <a:spLocks noChangeArrowheads="1"/>
            </p:cNvSpPr>
            <p:nvPr/>
          </p:nvSpPr>
          <p:spPr bwMode="auto">
            <a:xfrm>
              <a:off x="1663" y="3284"/>
              <a:ext cx="3109" cy="1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506" baseline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</a:p>
          </p:txBody>
        </p:sp>
      </p:grp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36079" y="931926"/>
            <a:ext cx="11350537" cy="231730"/>
          </a:xfrm>
        </p:spPr>
        <p:txBody>
          <a:bodyPr wrap="square">
            <a:spAutoFit/>
          </a:bodyPr>
          <a:lstStyle>
            <a:lvl1pPr>
              <a:defRPr sz="1506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547452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390960" y="1622141"/>
            <a:ext cx="11410091" cy="1158651"/>
          </a:xfrm>
        </p:spPr>
        <p:txBody>
          <a:bodyPr/>
          <a:lstStyle>
            <a:lvl1pPr>
              <a:defRPr baseline="0">
                <a:latin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First level text</a:t>
            </a:r>
          </a:p>
          <a:p>
            <a:pPr lvl="1"/>
            <a:r>
              <a:rPr lang="en-GB" noProof="0" dirty="0"/>
              <a:t>Second level text</a:t>
            </a:r>
          </a:p>
          <a:p>
            <a:pPr lvl="2"/>
            <a:r>
              <a:rPr lang="en-GB" noProof="0" dirty="0"/>
              <a:t>Third level text</a:t>
            </a:r>
          </a:p>
          <a:p>
            <a:pPr lvl="3"/>
            <a:r>
              <a:rPr lang="en-GB" noProof="0" dirty="0"/>
              <a:t>Fourth level text</a:t>
            </a:r>
          </a:p>
          <a:p>
            <a:pPr lvl="4"/>
            <a:r>
              <a:rPr lang="en-GB" noProof="0" dirty="0"/>
              <a:t>Fifth level text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89933" y="1006137"/>
            <a:ext cx="11410091" cy="410668"/>
          </a:xfrm>
        </p:spPr>
        <p:txBody>
          <a:bodyPr>
            <a:noAutofit/>
          </a:bodyPr>
          <a:lstStyle>
            <a:lvl1pPr marL="0" indent="0">
              <a:lnSpc>
                <a:spcPts val="2737"/>
              </a:lnSpc>
              <a:buNone/>
              <a:defRPr sz="2281" baseline="0"/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>
          <a:xfrm>
            <a:off x="389930" y="319270"/>
            <a:ext cx="10972800" cy="27546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2381089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Plai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/>
          <p:cNvSpPr>
            <a:spLocks noGrp="1"/>
          </p:cNvSpPr>
          <p:nvPr>
            <p:ph type="media" sz="quarter" idx="10" hasCustomPrompt="1"/>
          </p:nvPr>
        </p:nvSpPr>
        <p:spPr>
          <a:xfrm>
            <a:off x="3" y="3"/>
            <a:ext cx="12192000" cy="6858000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Video</a:t>
            </a:r>
          </a:p>
          <a:p>
            <a:endParaRPr lang="en-GB" dirty="0"/>
          </a:p>
          <a:p>
            <a:r>
              <a:rPr lang="en-GB" dirty="0"/>
              <a:t>Please make sure video is a .WMV </a:t>
            </a:r>
            <a:br>
              <a:rPr lang="en-GB" dirty="0"/>
            </a:br>
            <a:r>
              <a:rPr lang="en-GB" dirty="0"/>
              <a:t> format for use on VWG Laptops</a:t>
            </a:r>
          </a:p>
        </p:txBody>
      </p:sp>
    </p:spTree>
    <p:extLst>
      <p:ext uri="{BB962C8B-B14F-4D97-AF65-F5344CB8AC3E}">
        <p14:creationId xmlns:p14="http://schemas.microsoft.com/office/powerpoint/2010/main" val="3630636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154312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-15064" y="3241"/>
            <a:ext cx="12222127" cy="5994352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/>
        </p:nvSpPr>
        <p:spPr bwMode="ltGray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ltGray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ltGray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 3/10/2020 8:41 AM India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88407" y="4874187"/>
            <a:ext cx="7779444" cy="502445"/>
          </a:xfrm>
          <a:prstGeom prst="rect">
            <a:avLst/>
          </a:prstGeom>
        </p:spPr>
        <p:txBody>
          <a:bodyPr vert="horz" wrap="square" anchor="t">
            <a:spAutoFit/>
          </a:bodyPr>
          <a:lstStyle>
            <a:lvl1pPr>
              <a:defRPr lang="x-none"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488407" y="5644140"/>
            <a:ext cx="777944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15" name="Document type" hidden="1"/>
          <p:cNvSpPr txBox="1">
            <a:spLocks noChangeArrowheads="1"/>
          </p:cNvSpPr>
          <p:nvPr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13240" name="Picture 600" descr="C:\Users\MYTHIL~1\AppData\Local\Temp\notes1FCF23\~b522205.TMP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8950815" y="6103435"/>
            <a:ext cx="3028144" cy="64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24307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4" y="1627"/>
          <a:ext cx="161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4" y="1627"/>
                        <a:ext cx="161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843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x-none" sz="753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8529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839ED61-BF2A-4EC3-BB7E-8C20F8EBF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61" y="266757"/>
            <a:ext cx="10711261" cy="37683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728391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2" pos="7536">
          <p15:clr>
            <a:srgbClr val="FBAE40"/>
          </p15:clr>
        </p15:guide>
        <p15:guide id="3" orient="horz" pos="888">
          <p15:clr>
            <a:srgbClr val="FBAE40"/>
          </p15:clr>
        </p15:guide>
        <p15:guide id="4" orient="horz" pos="403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pt-BR" sz="1020" b="0" i="0" baseline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628253" y="1914726"/>
            <a:ext cx="4740388" cy="954991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628254" y="3449113"/>
            <a:ext cx="8840220" cy="3751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8" name="Rectangle 1027"/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86B6AC-D72B-46FF-9365-159E21B307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7630" y="3840458"/>
            <a:ext cx="8840220" cy="215444"/>
          </a:xfrm>
        </p:spPr>
        <p:txBody>
          <a:bodyPr/>
          <a:lstStyle>
            <a:lvl3pPr marL="111125" indent="0">
              <a:buNone/>
              <a:defRPr sz="1400">
                <a:solidFill>
                  <a:schemeClr val="accent4"/>
                </a:solidFill>
              </a:defRPr>
            </a:lvl3pPr>
          </a:lstStyle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006332017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A9A3F86-9CAF-41EC-B6ED-38D5610A6F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1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A9A3F86-9CAF-41EC-B6ED-38D5610A6F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2CDC502-71D7-4BBD-B28A-4074286450F3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166885" y="723901"/>
          <a:ext cx="11811006" cy="562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637">
                  <a:extLst>
                    <a:ext uri="{9D8B030D-6E8A-4147-A177-3AD203B41FA5}">
                      <a16:colId xmlns:a16="http://schemas.microsoft.com/office/drawing/2014/main" val="3182506139"/>
                    </a:ext>
                  </a:extLst>
                </a:gridCol>
                <a:gridCol w="1086966">
                  <a:extLst>
                    <a:ext uri="{9D8B030D-6E8A-4147-A177-3AD203B41FA5}">
                      <a16:colId xmlns:a16="http://schemas.microsoft.com/office/drawing/2014/main" val="3459705777"/>
                    </a:ext>
                  </a:extLst>
                </a:gridCol>
                <a:gridCol w="519514">
                  <a:extLst>
                    <a:ext uri="{9D8B030D-6E8A-4147-A177-3AD203B41FA5}">
                      <a16:colId xmlns:a16="http://schemas.microsoft.com/office/drawing/2014/main" val="1200269335"/>
                    </a:ext>
                  </a:extLst>
                </a:gridCol>
                <a:gridCol w="5974985">
                  <a:extLst>
                    <a:ext uri="{9D8B030D-6E8A-4147-A177-3AD203B41FA5}">
                      <a16:colId xmlns:a16="http://schemas.microsoft.com/office/drawing/2014/main" val="1864111341"/>
                    </a:ext>
                  </a:extLst>
                </a:gridCol>
                <a:gridCol w="649077">
                  <a:extLst>
                    <a:ext uri="{9D8B030D-6E8A-4147-A177-3AD203B41FA5}">
                      <a16:colId xmlns:a16="http://schemas.microsoft.com/office/drawing/2014/main" val="431005462"/>
                    </a:ext>
                  </a:extLst>
                </a:gridCol>
                <a:gridCol w="649077">
                  <a:extLst>
                    <a:ext uri="{9D8B030D-6E8A-4147-A177-3AD203B41FA5}">
                      <a16:colId xmlns:a16="http://schemas.microsoft.com/office/drawing/2014/main" val="2393472503"/>
                    </a:ext>
                  </a:extLst>
                </a:gridCol>
                <a:gridCol w="532350">
                  <a:extLst>
                    <a:ext uri="{9D8B030D-6E8A-4147-A177-3AD203B41FA5}">
                      <a16:colId xmlns:a16="http://schemas.microsoft.com/office/drawing/2014/main" val="1275451485"/>
                    </a:ext>
                  </a:extLst>
                </a:gridCol>
                <a:gridCol w="532350">
                  <a:extLst>
                    <a:ext uri="{9D8B030D-6E8A-4147-A177-3AD203B41FA5}">
                      <a16:colId xmlns:a16="http://schemas.microsoft.com/office/drawing/2014/main" val="274075626"/>
                    </a:ext>
                  </a:extLst>
                </a:gridCol>
                <a:gridCol w="532350">
                  <a:extLst>
                    <a:ext uri="{9D8B030D-6E8A-4147-A177-3AD203B41FA5}">
                      <a16:colId xmlns:a16="http://schemas.microsoft.com/office/drawing/2014/main" val="227344035"/>
                    </a:ext>
                  </a:extLst>
                </a:gridCol>
                <a:gridCol w="532350">
                  <a:extLst>
                    <a:ext uri="{9D8B030D-6E8A-4147-A177-3AD203B41FA5}">
                      <a16:colId xmlns:a16="http://schemas.microsoft.com/office/drawing/2014/main" val="2865463556"/>
                    </a:ext>
                  </a:extLst>
                </a:gridCol>
                <a:gridCol w="532350">
                  <a:extLst>
                    <a:ext uri="{9D8B030D-6E8A-4147-A177-3AD203B41FA5}">
                      <a16:colId xmlns:a16="http://schemas.microsoft.com/office/drawing/2014/main" val="3678774939"/>
                    </a:ext>
                  </a:extLst>
                </a:gridCol>
              </a:tblGrid>
              <a:tr h="266640">
                <a:tc>
                  <a:txBody>
                    <a:bodyPr/>
                    <a:lstStyle/>
                    <a:p>
                      <a:r>
                        <a:rPr lang="en-US" sz="800">
                          <a:latin typeface="+mn-lt"/>
                        </a:rPr>
                        <a:t>#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latin typeface="+mn-lt"/>
                        </a:rPr>
                        <a:t>Project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latin typeface="+mn-lt"/>
                        </a:rPr>
                        <a:t>Status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latin typeface="+mn-lt"/>
                        </a:rPr>
                        <a:t>Update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noProof="0">
                          <a:latin typeface="+mn-lt"/>
                        </a:rPr>
                        <a:t>Sponsor</a:t>
                      </a:r>
                      <a:endParaRPr lang="en-US" sz="800">
                        <a:latin typeface="+mn-lt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latin typeface="+mn-lt"/>
                        </a:rPr>
                        <a:t>Lead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5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st. Impact (AED Mn)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5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*Full impact 2021++:</a:t>
                      </a:r>
                      <a:br>
                        <a:rPr lang="en-US" sz="5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5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et Profit beyond 2021 per AFE restricted to Year 2025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 b="1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 b="1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800" b="1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7081089"/>
                  </a:ext>
                </a:extLst>
              </a:tr>
              <a:tr h="241358">
                <a:tc gridSpan="4">
                  <a:txBody>
                    <a:bodyPr/>
                    <a:lstStyle/>
                    <a:p>
                      <a:pPr marL="0" marR="0" lvl="0" indent="0" algn="l" defTabSz="8591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ctive Projects</a:t>
                      </a:r>
                    </a:p>
                  </a:txBody>
                  <a:tcPr marL="67211" marR="67211" marT="33605" marB="3360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8591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211" marR="67211" marT="33605" marB="3360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noProof="0">
                          <a:solidFill>
                            <a:schemeClr val="tx1"/>
                          </a:solidFill>
                          <a:latin typeface="+mn-lt"/>
                        </a:rPr>
                        <a:t>2020</a:t>
                      </a:r>
                      <a:r>
                        <a:rPr lang="en-US" sz="700" b="1" i="0" u="none" strike="noStrike" baseline="0" noProof="0">
                          <a:solidFill>
                            <a:schemeClr val="tx1"/>
                          </a:solidFill>
                          <a:latin typeface="+mn-lt"/>
                        </a:rPr>
                        <a:t>A</a:t>
                      </a:r>
                      <a:endParaRPr lang="en-US" sz="700" b="1" i="0" u="none" strike="noStrike" noProof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1">
                          <a:solidFill>
                            <a:schemeClr val="tx1"/>
                          </a:solidFill>
                          <a:latin typeface="+mn-lt"/>
                        </a:rPr>
                        <a:t>2020B</a:t>
                      </a: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1">
                          <a:solidFill>
                            <a:schemeClr val="tx1"/>
                          </a:solidFill>
                          <a:latin typeface="+mn-lt"/>
                        </a:rPr>
                        <a:t>2021</a:t>
                      </a: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1">
                          <a:solidFill>
                            <a:schemeClr val="tx1"/>
                          </a:solidFill>
                          <a:latin typeface="+mn-lt"/>
                        </a:rPr>
                        <a:t>2021</a:t>
                      </a:r>
                    </a:p>
                    <a:p>
                      <a:pPr algn="ctr"/>
                      <a:r>
                        <a:rPr lang="en-US" sz="500" b="1">
                          <a:solidFill>
                            <a:schemeClr val="tx1"/>
                          </a:solidFill>
                          <a:latin typeface="+mn-lt"/>
                        </a:rPr>
                        <a:t>(Based on 2019 financials)</a:t>
                      </a: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1">
                          <a:solidFill>
                            <a:schemeClr val="tx1"/>
                          </a:solidFill>
                          <a:latin typeface="+mn-lt"/>
                        </a:rPr>
                        <a:t>Full Impact</a:t>
                      </a:r>
                    </a:p>
                    <a:p>
                      <a:pPr algn="ctr"/>
                      <a:r>
                        <a:rPr lang="en-US" sz="700" b="1">
                          <a:solidFill>
                            <a:schemeClr val="tx1"/>
                          </a:solidFill>
                          <a:latin typeface="+mn-lt"/>
                        </a:rPr>
                        <a:t>2021++*</a:t>
                      </a: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6140839"/>
                  </a:ext>
                </a:extLst>
              </a:tr>
              <a:tr h="1231840">
                <a:tc>
                  <a:txBody>
                    <a:bodyPr/>
                    <a:lstStyle/>
                    <a:p>
                      <a:pPr marL="0" marR="0" lvl="0" indent="0" algn="ctr" defTabSz="8591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9402" marR="49402" marT="24701" marB="2470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indent="0" algn="l" fontAlgn="ctr"/>
                      <a:endParaRPr lang="en-US" sz="8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kumimoji="0" lang="en-US" sz="80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32962" rtl="0" eaLnBrk="1" fontAlgn="ctr" latinLnBrk="0" hangingPunct="1"/>
                      <a:endParaRPr lang="en-US" sz="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95" marR="1295" marT="129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7213447"/>
                  </a:ext>
                </a:extLst>
              </a:tr>
              <a:tr h="1231840">
                <a:tc>
                  <a:txBody>
                    <a:bodyPr/>
                    <a:lstStyle/>
                    <a:p>
                      <a:pPr marL="0" lvl="0" indent="0" algn="ctr" defTabSz="932962">
                        <a:buFontTx/>
                        <a:buNone/>
                        <a:defRPr/>
                      </a:pPr>
                      <a:endParaRPr lang="en-US" sz="8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211" marR="67211" marT="33605" marB="3360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indent="0" algn="l" fontAlgn="ctr"/>
                      <a:endParaRPr lang="en-US" sz="8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32962" rtl="0" eaLnBrk="1" fontAlgn="ctr" latinLnBrk="0" hangingPunct="1"/>
                      <a:endParaRPr lang="en-US" sz="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95" marR="1295" marT="129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1572090"/>
                  </a:ext>
                </a:extLst>
              </a:tr>
              <a:tr h="1231840">
                <a:tc>
                  <a:txBody>
                    <a:bodyPr/>
                    <a:lstStyle/>
                    <a:p>
                      <a:pPr marL="0" lvl="0" indent="0" algn="ctr" defTabSz="932962">
                        <a:buFontTx/>
                        <a:buNone/>
                        <a:defRPr/>
                      </a:pPr>
                      <a:endParaRPr lang="en-US" sz="8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211" marR="67211" marT="33605" marB="3360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indent="0" algn="l" defTabSz="685727" rtl="0" eaLnBrk="1" fontAlgn="ctr" latinLnBrk="0" hangingPunct="1"/>
                      <a:endParaRPr lang="en-US" sz="8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b="0" baseline="0"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32962" rtl="0" eaLnBrk="1" fontAlgn="ctr" latinLnBrk="0" hangingPunct="1"/>
                      <a:endParaRPr lang="en-US" sz="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95" marR="1295" marT="129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0142283"/>
                  </a:ext>
                </a:extLst>
              </a:tr>
              <a:tr h="1231840">
                <a:tc>
                  <a:txBody>
                    <a:bodyPr/>
                    <a:lstStyle/>
                    <a:p>
                      <a:pPr marL="0" lvl="0" indent="0" algn="ctr" defTabSz="932962">
                        <a:buFontTx/>
                        <a:buNone/>
                        <a:defRPr/>
                      </a:pPr>
                      <a:endParaRPr lang="en-US" sz="8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211" marR="67211" marT="33605" marB="3360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indent="0" algn="l" defTabSz="685727" rtl="0" eaLnBrk="1" fontAlgn="ctr" latinLnBrk="0" hangingPunct="1"/>
                      <a:endParaRPr lang="en-US" sz="8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b="0" baseline="0"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32962" rtl="0" eaLnBrk="1" fontAlgn="ctr" latinLnBrk="0" hangingPunct="1"/>
                      <a:endParaRPr lang="en-US" sz="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95" marR="1295" marT="129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304067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EEB15BE-FCCC-448C-BD77-098CA551FCD9}"/>
              </a:ext>
            </a:extLst>
          </p:cNvPr>
          <p:cNvSpPr txBox="1"/>
          <p:nvPr userDrawn="1"/>
        </p:nvSpPr>
        <p:spPr>
          <a:xfrm>
            <a:off x="8217378" y="115687"/>
            <a:ext cx="68739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82011AE-9F6E-4C37-AF63-87D9E29EECA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8144263" y="139440"/>
            <a:ext cx="137160" cy="137160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8A494EB-02AB-4AE6-802C-2671A6C8052C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11451780" y="139440"/>
            <a:ext cx="137160" cy="13716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20">
            <a:extLst>
              <a:ext uri="{FF2B5EF4-FFF2-40B4-BE49-F238E27FC236}">
                <a16:creationId xmlns:a16="http://schemas.microsoft.com/office/drawing/2014/main" id="{581E0DA4-A1D0-4AAB-8213-AEF7E297AF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427667" y="115687"/>
            <a:ext cx="96693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10" name="TextBox 21">
            <a:extLst>
              <a:ext uri="{FF2B5EF4-FFF2-40B4-BE49-F238E27FC236}">
                <a16:creationId xmlns:a16="http://schemas.microsoft.com/office/drawing/2014/main" id="{BD2574B5-96C4-4FAB-AB93-74DE9A4AF75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499914" y="115687"/>
            <a:ext cx="8034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5C7F1E4-7874-4A73-BED3-6D7CA665660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63820" y="139440"/>
            <a:ext cx="137160" cy="137160"/>
          </a:xfrm>
          <a:prstGeom prst="ellipse">
            <a:avLst/>
          </a:prstGeom>
          <a:solidFill>
            <a:srgbClr val="C0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8FE275E-0885-4EAE-8A1C-D3EFC8ADC3A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30640" y="139440"/>
            <a:ext cx="137160" cy="137160"/>
          </a:xfrm>
          <a:prstGeom prst="ellips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22">
            <a:extLst>
              <a:ext uri="{FF2B5EF4-FFF2-40B4-BE49-F238E27FC236}">
                <a16:creationId xmlns:a16="http://schemas.microsoft.com/office/drawing/2014/main" id="{B845A895-77A4-4324-8512-46E298D16D1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894126" y="115687"/>
            <a:ext cx="50045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15E1A94-AD5A-4E60-8899-3E0157A8C2A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825981" y="139440"/>
            <a:ext cx="137160" cy="137160"/>
          </a:xfrm>
          <a:prstGeom prst="ellipse">
            <a:avLst/>
          </a:prstGeom>
          <a:solidFill>
            <a:srgbClr val="20A048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8C4556-7126-46E8-89BF-B32FF126C943}"/>
              </a:ext>
            </a:extLst>
          </p:cNvPr>
          <p:cNvSpPr/>
          <p:nvPr userDrawn="1"/>
        </p:nvSpPr>
        <p:spPr>
          <a:xfrm>
            <a:off x="8086847" y="100298"/>
            <a:ext cx="3876918" cy="21544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F5D85FB-BB03-4714-8472-133AA454B3B3}"/>
              </a:ext>
            </a:extLst>
          </p:cNvPr>
          <p:cNvSpPr/>
          <p:nvPr userDrawn="1"/>
        </p:nvSpPr>
        <p:spPr>
          <a:xfrm>
            <a:off x="5302132" y="100298"/>
            <a:ext cx="2781650" cy="21544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35ED349-4095-47EC-8FC0-EE77CDB62887}"/>
              </a:ext>
            </a:extLst>
          </p:cNvPr>
          <p:cNvSpPr txBox="1"/>
          <p:nvPr userDrawn="1"/>
        </p:nvSpPr>
        <p:spPr>
          <a:xfrm>
            <a:off x="6850601" y="115687"/>
            <a:ext cx="129935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. Impact verified by Finance</a:t>
            </a:r>
          </a:p>
        </p:txBody>
      </p:sp>
      <p:sp>
        <p:nvSpPr>
          <p:cNvPr id="18" name="Flowchart: Extract 17">
            <a:extLst>
              <a:ext uri="{FF2B5EF4-FFF2-40B4-BE49-F238E27FC236}">
                <a16:creationId xmlns:a16="http://schemas.microsoft.com/office/drawing/2014/main" id="{03134668-4087-4661-82A5-6C57BCD93EF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57405" y="139440"/>
            <a:ext cx="137160" cy="137160"/>
          </a:xfrm>
          <a:prstGeom prst="flowChartExtract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9B130AC-0471-4CAB-B667-C1DAE91635C6}"/>
              </a:ext>
            </a:extLst>
          </p:cNvPr>
          <p:cNvSpPr txBox="1"/>
          <p:nvPr userDrawn="1"/>
        </p:nvSpPr>
        <p:spPr>
          <a:xfrm>
            <a:off x="5411631" y="115687"/>
            <a:ext cx="142691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. Impact under Finance review</a:t>
            </a:r>
          </a:p>
        </p:txBody>
      </p:sp>
      <p:sp>
        <p:nvSpPr>
          <p:cNvPr id="20" name="Flowchart: Extract 19">
            <a:extLst>
              <a:ext uri="{FF2B5EF4-FFF2-40B4-BE49-F238E27FC236}">
                <a16:creationId xmlns:a16="http://schemas.microsoft.com/office/drawing/2014/main" id="{29D1DA6E-6F8D-4503-984B-B1189A8796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786621" y="139440"/>
            <a:ext cx="137160" cy="137160"/>
          </a:xfrm>
          <a:prstGeom prst="flowChartExtract">
            <a:avLst/>
          </a:prstGeom>
          <a:solidFill>
            <a:srgbClr val="20A048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F87B76A-F683-4C2A-9459-B365D1835F3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62090" y="115687"/>
            <a:ext cx="38710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Hold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856D14B2-32C0-4608-AEE1-D56F2DD84F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885" y="315742"/>
            <a:ext cx="11796880" cy="307777"/>
          </a:xfrm>
        </p:spPr>
        <p:txBody>
          <a:bodyPr/>
          <a:lstStyle>
            <a:lvl1pPr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09AACAE-DB6E-41AD-B23F-ABF0E2189F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79416" y="1457265"/>
            <a:ext cx="5900018" cy="1145365"/>
          </a:xfrm>
        </p:spPr>
        <p:txBody>
          <a:bodyPr anchor="ctr">
            <a:normAutofit/>
          </a:bodyPr>
          <a:lstStyle>
            <a:lvl1pPr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0E4164FD-E5D7-4362-A215-C3C2EBA968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79416" y="2693868"/>
            <a:ext cx="5900018" cy="1145365"/>
          </a:xfrm>
        </p:spPr>
        <p:txBody>
          <a:bodyPr anchor="ctr">
            <a:normAutofit/>
          </a:bodyPr>
          <a:lstStyle>
            <a:lvl1pPr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B6DAEDCF-2A45-40C8-9A88-32A3858340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79416" y="3930471"/>
            <a:ext cx="5900018" cy="1145365"/>
          </a:xfrm>
        </p:spPr>
        <p:txBody>
          <a:bodyPr anchor="ctr">
            <a:normAutofit/>
          </a:bodyPr>
          <a:lstStyle>
            <a:lvl1pPr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2ECDC6A3-74CF-436C-AB7C-3B5C6C900B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79416" y="5158846"/>
            <a:ext cx="5900018" cy="1145365"/>
          </a:xfrm>
        </p:spPr>
        <p:txBody>
          <a:bodyPr anchor="ctr">
            <a:normAutofit/>
          </a:bodyPr>
          <a:lstStyle>
            <a:lvl1pPr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7" name="Text Placeholder 27">
            <a:extLst>
              <a:ext uri="{FF2B5EF4-FFF2-40B4-BE49-F238E27FC236}">
                <a16:creationId xmlns:a16="http://schemas.microsoft.com/office/drawing/2014/main" id="{81E69C28-F6FB-4024-A3BD-E6BF43370A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26204" y="1457265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91A86FE9-F275-457A-8386-C61DFBA217C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026204" y="2693868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9" name="Text Placeholder 27">
            <a:extLst>
              <a:ext uri="{FF2B5EF4-FFF2-40B4-BE49-F238E27FC236}">
                <a16:creationId xmlns:a16="http://schemas.microsoft.com/office/drawing/2014/main" id="{B731B154-A4E5-47A1-98AE-C37CCF1B38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26204" y="3930471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0" name="Text Placeholder 27">
            <a:extLst>
              <a:ext uri="{FF2B5EF4-FFF2-40B4-BE49-F238E27FC236}">
                <a16:creationId xmlns:a16="http://schemas.microsoft.com/office/drawing/2014/main" id="{AC8DB373-6F49-4A0E-9B75-11DEB4247DA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26204" y="5158846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1" name="Text Placeholder 27">
            <a:extLst>
              <a:ext uri="{FF2B5EF4-FFF2-40B4-BE49-F238E27FC236}">
                <a16:creationId xmlns:a16="http://schemas.microsoft.com/office/drawing/2014/main" id="{1B495A40-0A96-41E6-97E7-E974526FE24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77275" y="1457265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2" name="Text Placeholder 27">
            <a:extLst>
              <a:ext uri="{FF2B5EF4-FFF2-40B4-BE49-F238E27FC236}">
                <a16:creationId xmlns:a16="http://schemas.microsoft.com/office/drawing/2014/main" id="{3E00486E-45EF-42B5-B115-74F0A70A6A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677275" y="2693868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3" name="Text Placeholder 27">
            <a:extLst>
              <a:ext uri="{FF2B5EF4-FFF2-40B4-BE49-F238E27FC236}">
                <a16:creationId xmlns:a16="http://schemas.microsoft.com/office/drawing/2014/main" id="{D37BE557-48B8-48B5-AE57-C919CE5FCAC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77275" y="3930471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4" name="Text Placeholder 27">
            <a:extLst>
              <a:ext uri="{FF2B5EF4-FFF2-40B4-BE49-F238E27FC236}">
                <a16:creationId xmlns:a16="http://schemas.microsoft.com/office/drawing/2014/main" id="{97F187F3-FC57-4E21-8826-0BB8F06BC1D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677275" y="5158846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5" name="Text Placeholder 27">
            <a:extLst>
              <a:ext uri="{FF2B5EF4-FFF2-40B4-BE49-F238E27FC236}">
                <a16:creationId xmlns:a16="http://schemas.microsoft.com/office/drawing/2014/main" id="{55DAAA3C-71CE-42BC-B4C5-E88DC42429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346225" y="1457265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6" name="Text Placeholder 27">
            <a:extLst>
              <a:ext uri="{FF2B5EF4-FFF2-40B4-BE49-F238E27FC236}">
                <a16:creationId xmlns:a16="http://schemas.microsoft.com/office/drawing/2014/main" id="{C1341EA6-D1EF-401D-87CB-B4A00269E88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46225" y="2693868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7" name="Text Placeholder 27">
            <a:extLst>
              <a:ext uri="{FF2B5EF4-FFF2-40B4-BE49-F238E27FC236}">
                <a16:creationId xmlns:a16="http://schemas.microsoft.com/office/drawing/2014/main" id="{AB88B55A-138D-4E61-867A-C2FADF9D81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46225" y="3930471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8" name="Text Placeholder 27">
            <a:extLst>
              <a:ext uri="{FF2B5EF4-FFF2-40B4-BE49-F238E27FC236}">
                <a16:creationId xmlns:a16="http://schemas.microsoft.com/office/drawing/2014/main" id="{A4D7BD19-5E04-42C1-889F-ACFE561A392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346225" y="5158846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9" name="Text Placeholder 27">
            <a:extLst>
              <a:ext uri="{FF2B5EF4-FFF2-40B4-BE49-F238E27FC236}">
                <a16:creationId xmlns:a16="http://schemas.microsoft.com/office/drawing/2014/main" id="{956D4AC7-ADE4-4CAB-9027-D5ACBDCEA1B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878309" y="1457265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0" name="Text Placeholder 27">
            <a:extLst>
              <a:ext uri="{FF2B5EF4-FFF2-40B4-BE49-F238E27FC236}">
                <a16:creationId xmlns:a16="http://schemas.microsoft.com/office/drawing/2014/main" id="{E7793CF1-95F1-4E53-BBDD-F548BB1283B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878309" y="2693868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1" name="Text Placeholder 27">
            <a:extLst>
              <a:ext uri="{FF2B5EF4-FFF2-40B4-BE49-F238E27FC236}">
                <a16:creationId xmlns:a16="http://schemas.microsoft.com/office/drawing/2014/main" id="{723F05CF-44C2-47A7-9150-D4B0E6314FD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878309" y="3930471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2" name="Text Placeholder 27">
            <a:extLst>
              <a:ext uri="{FF2B5EF4-FFF2-40B4-BE49-F238E27FC236}">
                <a16:creationId xmlns:a16="http://schemas.microsoft.com/office/drawing/2014/main" id="{76055081-4FF3-446C-B6F6-65C21065F55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878309" y="5158846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3" name="Text Placeholder 27">
            <a:extLst>
              <a:ext uri="{FF2B5EF4-FFF2-40B4-BE49-F238E27FC236}">
                <a16:creationId xmlns:a16="http://schemas.microsoft.com/office/drawing/2014/main" id="{94B7C2D6-5908-4034-87C7-E2BF670B0C2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0410393" y="1457265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4" name="Text Placeholder 27">
            <a:extLst>
              <a:ext uri="{FF2B5EF4-FFF2-40B4-BE49-F238E27FC236}">
                <a16:creationId xmlns:a16="http://schemas.microsoft.com/office/drawing/2014/main" id="{4CA49791-A442-47E3-A1AF-850C548F53E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410393" y="2693868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5" name="Text Placeholder 27">
            <a:extLst>
              <a:ext uri="{FF2B5EF4-FFF2-40B4-BE49-F238E27FC236}">
                <a16:creationId xmlns:a16="http://schemas.microsoft.com/office/drawing/2014/main" id="{1A06BEAF-843C-4FFE-9C4C-590D617F74B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410393" y="3930471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6" name="Text Placeholder 27">
            <a:extLst>
              <a:ext uri="{FF2B5EF4-FFF2-40B4-BE49-F238E27FC236}">
                <a16:creationId xmlns:a16="http://schemas.microsoft.com/office/drawing/2014/main" id="{3774C84E-48A1-40DF-A8C7-5E82A5C3E9B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0410393" y="5158846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7" name="Text Placeholder 27">
            <a:extLst>
              <a:ext uri="{FF2B5EF4-FFF2-40B4-BE49-F238E27FC236}">
                <a16:creationId xmlns:a16="http://schemas.microsoft.com/office/drawing/2014/main" id="{F7CE0ED7-A3C1-4DBD-8DF1-B1452D7F572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942477" y="1457265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8" name="Text Placeholder 27">
            <a:extLst>
              <a:ext uri="{FF2B5EF4-FFF2-40B4-BE49-F238E27FC236}">
                <a16:creationId xmlns:a16="http://schemas.microsoft.com/office/drawing/2014/main" id="{C628E93D-F075-4B9C-B617-1454249653E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942477" y="2693868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9" name="Text Placeholder 27">
            <a:extLst>
              <a:ext uri="{FF2B5EF4-FFF2-40B4-BE49-F238E27FC236}">
                <a16:creationId xmlns:a16="http://schemas.microsoft.com/office/drawing/2014/main" id="{3FF9FE0B-738F-40BB-B60C-8EEFB817639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0942477" y="3930471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Text Placeholder 27">
            <a:extLst>
              <a:ext uri="{FF2B5EF4-FFF2-40B4-BE49-F238E27FC236}">
                <a16:creationId xmlns:a16="http://schemas.microsoft.com/office/drawing/2014/main" id="{5AC7FF10-81D6-4825-980E-7F077D2DE3A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942477" y="5158846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1" name="Text Placeholder 27">
            <a:extLst>
              <a:ext uri="{FF2B5EF4-FFF2-40B4-BE49-F238E27FC236}">
                <a16:creationId xmlns:a16="http://schemas.microsoft.com/office/drawing/2014/main" id="{FD38FC1B-837B-49C3-8817-0EC33DE28D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1468288" y="1457265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Text Placeholder 27">
            <a:extLst>
              <a:ext uri="{FF2B5EF4-FFF2-40B4-BE49-F238E27FC236}">
                <a16:creationId xmlns:a16="http://schemas.microsoft.com/office/drawing/2014/main" id="{9273B36A-D573-497A-8EB2-81C307FAD89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1468288" y="2693868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3" name="Text Placeholder 27">
            <a:extLst>
              <a:ext uri="{FF2B5EF4-FFF2-40B4-BE49-F238E27FC236}">
                <a16:creationId xmlns:a16="http://schemas.microsoft.com/office/drawing/2014/main" id="{786A174C-0800-448E-8C90-B1CED81EC4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1468288" y="3930471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Text Placeholder 27">
            <a:extLst>
              <a:ext uri="{FF2B5EF4-FFF2-40B4-BE49-F238E27FC236}">
                <a16:creationId xmlns:a16="http://schemas.microsoft.com/office/drawing/2014/main" id="{C50557A7-C384-42B5-96E6-F0190F8A11A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1468288" y="5158846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5" name="Text Placeholder 27">
            <a:extLst>
              <a:ext uri="{FF2B5EF4-FFF2-40B4-BE49-F238E27FC236}">
                <a16:creationId xmlns:a16="http://schemas.microsoft.com/office/drawing/2014/main" id="{E1816182-F44B-41DF-AA31-32FA523EEF8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69153" y="1457265"/>
            <a:ext cx="1016747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6" name="Text Placeholder 27">
            <a:extLst>
              <a:ext uri="{FF2B5EF4-FFF2-40B4-BE49-F238E27FC236}">
                <a16:creationId xmlns:a16="http://schemas.microsoft.com/office/drawing/2014/main" id="{79ECA911-E97A-4472-9AC5-64DB1458DEB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69153" y="2693868"/>
            <a:ext cx="1016747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7" name="Text Placeholder 27">
            <a:extLst>
              <a:ext uri="{FF2B5EF4-FFF2-40B4-BE49-F238E27FC236}">
                <a16:creationId xmlns:a16="http://schemas.microsoft.com/office/drawing/2014/main" id="{1E4B4401-89D4-40EA-9475-7FF29ABA8DE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469153" y="3930471"/>
            <a:ext cx="1016747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8" name="Text Placeholder 27">
            <a:extLst>
              <a:ext uri="{FF2B5EF4-FFF2-40B4-BE49-F238E27FC236}">
                <a16:creationId xmlns:a16="http://schemas.microsoft.com/office/drawing/2014/main" id="{AC6B5644-2F08-412E-BBD9-C8AA9EFD4E72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469153" y="5158846"/>
            <a:ext cx="1016747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9" name="Text Placeholder 27">
            <a:extLst>
              <a:ext uri="{FF2B5EF4-FFF2-40B4-BE49-F238E27FC236}">
                <a16:creationId xmlns:a16="http://schemas.microsoft.com/office/drawing/2014/main" id="{E60822E7-11A7-4121-95BF-9F36BED3076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66886" y="1457265"/>
            <a:ext cx="255498" cy="1145365"/>
          </a:xfrm>
        </p:spPr>
        <p:txBody>
          <a:bodyPr vert="wordArtVert"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0" name="Text Placeholder 27">
            <a:extLst>
              <a:ext uri="{FF2B5EF4-FFF2-40B4-BE49-F238E27FC236}">
                <a16:creationId xmlns:a16="http://schemas.microsoft.com/office/drawing/2014/main" id="{54F5F01B-05B3-4F19-A970-16B0A567A8E5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66886" y="2693868"/>
            <a:ext cx="255498" cy="1145365"/>
          </a:xfrm>
        </p:spPr>
        <p:txBody>
          <a:bodyPr vert="wordArtVert"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1" name="Text Placeholder 27">
            <a:extLst>
              <a:ext uri="{FF2B5EF4-FFF2-40B4-BE49-F238E27FC236}">
                <a16:creationId xmlns:a16="http://schemas.microsoft.com/office/drawing/2014/main" id="{EF26A4AD-BB27-4442-9523-E621CA6CF555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66886" y="3930471"/>
            <a:ext cx="255498" cy="1145365"/>
          </a:xfrm>
        </p:spPr>
        <p:txBody>
          <a:bodyPr vert="wordArtVert"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2" name="Text Placeholder 27">
            <a:extLst>
              <a:ext uri="{FF2B5EF4-FFF2-40B4-BE49-F238E27FC236}">
                <a16:creationId xmlns:a16="http://schemas.microsoft.com/office/drawing/2014/main" id="{B15159F2-944D-486C-9647-609B71E7A6E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66886" y="5158846"/>
            <a:ext cx="255498" cy="1145365"/>
          </a:xfrm>
        </p:spPr>
        <p:txBody>
          <a:bodyPr vert="wordArtVert"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4" name="Table Placeholder 73">
            <a:extLst>
              <a:ext uri="{FF2B5EF4-FFF2-40B4-BE49-F238E27FC236}">
                <a16:creationId xmlns:a16="http://schemas.microsoft.com/office/drawing/2014/main" id="{6DFEB914-0055-42F2-B17B-B4656DBE0815}"/>
              </a:ext>
            </a:extLst>
          </p:cNvPr>
          <p:cNvSpPr>
            <a:spLocks noGrp="1"/>
          </p:cNvSpPr>
          <p:nvPr>
            <p:ph type="tbl" sz="quarter" idx="51"/>
          </p:nvPr>
        </p:nvSpPr>
        <p:spPr>
          <a:xfrm>
            <a:off x="1485900" y="1415599"/>
            <a:ext cx="593515" cy="4932502"/>
          </a:xfrm>
        </p:spPr>
        <p:txBody>
          <a:bodyPr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5270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1BC6E2-5FE9-4B3A-A15B-F74A5F0A38A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839ED61-BF2A-4EC3-BB7E-8C20F8EBF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266758"/>
            <a:ext cx="10711261" cy="36933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72502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2" pos="7536">
          <p15:clr>
            <a:srgbClr val="FBAE40"/>
          </p15:clr>
        </p15:guide>
        <p15:guide id="3" orient="horz" pos="888">
          <p15:clr>
            <a:srgbClr val="FBAE40"/>
          </p15:clr>
        </p15:guide>
        <p15:guide id="4" orient="horz" pos="403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/>
          <a:srcRect r="72206"/>
          <a:stretch/>
        </p:blipFill>
        <p:spPr>
          <a:xfrm>
            <a:off x="5437233" y="2951505"/>
            <a:ext cx="1317534" cy="954991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B69876-9785-4BC5-A491-B850EB1E09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6" name="Rectangle 1027">
            <a:extLst>
              <a:ext uri="{FF2B5EF4-FFF2-40B4-BE49-F238E27FC236}">
                <a16:creationId xmlns:a16="http://schemas.microsoft.com/office/drawing/2014/main" id="{1F51A78B-63EC-4994-84DA-7D57D2FCF7F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823971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EC25962-96E5-44A4-8763-2DBED4A8A3F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939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80392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pt-BR" sz="1020" b="0" i="0" baseline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628253" y="1914726"/>
            <a:ext cx="4740388" cy="954991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628254" y="3449113"/>
            <a:ext cx="8840220" cy="3751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8" name="Rectangle 1027"/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86B6AC-D72B-46FF-9365-159E21B307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7630" y="3840458"/>
            <a:ext cx="8840220" cy="215444"/>
          </a:xfrm>
        </p:spPr>
        <p:txBody>
          <a:bodyPr/>
          <a:lstStyle>
            <a:lvl3pPr marL="111125" indent="0">
              <a:buNone/>
              <a:defRPr sz="1400">
                <a:solidFill>
                  <a:schemeClr val="accent4"/>
                </a:solidFill>
              </a:defRPr>
            </a:lvl3pPr>
          </a:lstStyle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043937756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A9A3F86-9CAF-41EC-B6ED-38D5610A6F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1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A9A3F86-9CAF-41EC-B6ED-38D5610A6F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2CDC502-71D7-4BBD-B28A-4074286450F3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166885" y="723901"/>
          <a:ext cx="11811006" cy="562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637">
                  <a:extLst>
                    <a:ext uri="{9D8B030D-6E8A-4147-A177-3AD203B41FA5}">
                      <a16:colId xmlns:a16="http://schemas.microsoft.com/office/drawing/2014/main" val="3182506139"/>
                    </a:ext>
                  </a:extLst>
                </a:gridCol>
                <a:gridCol w="1086966">
                  <a:extLst>
                    <a:ext uri="{9D8B030D-6E8A-4147-A177-3AD203B41FA5}">
                      <a16:colId xmlns:a16="http://schemas.microsoft.com/office/drawing/2014/main" val="3459705777"/>
                    </a:ext>
                  </a:extLst>
                </a:gridCol>
                <a:gridCol w="519514">
                  <a:extLst>
                    <a:ext uri="{9D8B030D-6E8A-4147-A177-3AD203B41FA5}">
                      <a16:colId xmlns:a16="http://schemas.microsoft.com/office/drawing/2014/main" val="1200269335"/>
                    </a:ext>
                  </a:extLst>
                </a:gridCol>
                <a:gridCol w="5974985">
                  <a:extLst>
                    <a:ext uri="{9D8B030D-6E8A-4147-A177-3AD203B41FA5}">
                      <a16:colId xmlns:a16="http://schemas.microsoft.com/office/drawing/2014/main" val="1864111341"/>
                    </a:ext>
                  </a:extLst>
                </a:gridCol>
                <a:gridCol w="649077">
                  <a:extLst>
                    <a:ext uri="{9D8B030D-6E8A-4147-A177-3AD203B41FA5}">
                      <a16:colId xmlns:a16="http://schemas.microsoft.com/office/drawing/2014/main" val="431005462"/>
                    </a:ext>
                  </a:extLst>
                </a:gridCol>
                <a:gridCol w="649077">
                  <a:extLst>
                    <a:ext uri="{9D8B030D-6E8A-4147-A177-3AD203B41FA5}">
                      <a16:colId xmlns:a16="http://schemas.microsoft.com/office/drawing/2014/main" val="2393472503"/>
                    </a:ext>
                  </a:extLst>
                </a:gridCol>
                <a:gridCol w="532350">
                  <a:extLst>
                    <a:ext uri="{9D8B030D-6E8A-4147-A177-3AD203B41FA5}">
                      <a16:colId xmlns:a16="http://schemas.microsoft.com/office/drawing/2014/main" val="1275451485"/>
                    </a:ext>
                  </a:extLst>
                </a:gridCol>
                <a:gridCol w="532350">
                  <a:extLst>
                    <a:ext uri="{9D8B030D-6E8A-4147-A177-3AD203B41FA5}">
                      <a16:colId xmlns:a16="http://schemas.microsoft.com/office/drawing/2014/main" val="274075626"/>
                    </a:ext>
                  </a:extLst>
                </a:gridCol>
                <a:gridCol w="532350">
                  <a:extLst>
                    <a:ext uri="{9D8B030D-6E8A-4147-A177-3AD203B41FA5}">
                      <a16:colId xmlns:a16="http://schemas.microsoft.com/office/drawing/2014/main" val="227344035"/>
                    </a:ext>
                  </a:extLst>
                </a:gridCol>
                <a:gridCol w="532350">
                  <a:extLst>
                    <a:ext uri="{9D8B030D-6E8A-4147-A177-3AD203B41FA5}">
                      <a16:colId xmlns:a16="http://schemas.microsoft.com/office/drawing/2014/main" val="2865463556"/>
                    </a:ext>
                  </a:extLst>
                </a:gridCol>
                <a:gridCol w="532350">
                  <a:extLst>
                    <a:ext uri="{9D8B030D-6E8A-4147-A177-3AD203B41FA5}">
                      <a16:colId xmlns:a16="http://schemas.microsoft.com/office/drawing/2014/main" val="3678774939"/>
                    </a:ext>
                  </a:extLst>
                </a:gridCol>
              </a:tblGrid>
              <a:tr h="266640">
                <a:tc>
                  <a:txBody>
                    <a:bodyPr/>
                    <a:lstStyle/>
                    <a:p>
                      <a:r>
                        <a:rPr lang="en-US" sz="800">
                          <a:latin typeface="+mn-lt"/>
                        </a:rPr>
                        <a:t>#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latin typeface="+mn-lt"/>
                        </a:rPr>
                        <a:t>Project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latin typeface="+mn-lt"/>
                        </a:rPr>
                        <a:t>Status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latin typeface="+mn-lt"/>
                        </a:rPr>
                        <a:t>Update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noProof="0">
                          <a:latin typeface="+mn-lt"/>
                        </a:rPr>
                        <a:t>Sponsor</a:t>
                      </a:r>
                      <a:endParaRPr lang="en-US" sz="800">
                        <a:latin typeface="+mn-lt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latin typeface="+mn-lt"/>
                        </a:rPr>
                        <a:t>Lead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5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st. Impact (AED Mn)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5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*Full impact 2021++:</a:t>
                      </a:r>
                      <a:br>
                        <a:rPr lang="en-US" sz="5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5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et Profit beyond 2021 per AFE restricted to Year 2025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 b="1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 b="1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800" b="1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7081089"/>
                  </a:ext>
                </a:extLst>
              </a:tr>
              <a:tr h="241358">
                <a:tc gridSpan="4">
                  <a:txBody>
                    <a:bodyPr/>
                    <a:lstStyle/>
                    <a:p>
                      <a:pPr marL="0" marR="0" lvl="0" indent="0" algn="l" defTabSz="8591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ctive Projects</a:t>
                      </a:r>
                    </a:p>
                  </a:txBody>
                  <a:tcPr marL="67211" marR="67211" marT="33605" marB="3360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8591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211" marR="67211" marT="33605" marB="3360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noProof="0">
                          <a:solidFill>
                            <a:schemeClr val="tx1"/>
                          </a:solidFill>
                          <a:latin typeface="+mn-lt"/>
                        </a:rPr>
                        <a:t>2020</a:t>
                      </a:r>
                      <a:r>
                        <a:rPr lang="en-US" sz="700" b="1" i="0" u="none" strike="noStrike" baseline="0" noProof="0">
                          <a:solidFill>
                            <a:schemeClr val="tx1"/>
                          </a:solidFill>
                          <a:latin typeface="+mn-lt"/>
                        </a:rPr>
                        <a:t>A</a:t>
                      </a:r>
                      <a:endParaRPr lang="en-US" sz="700" b="1" i="0" u="none" strike="noStrike" noProof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1">
                          <a:solidFill>
                            <a:schemeClr val="tx1"/>
                          </a:solidFill>
                          <a:latin typeface="+mn-lt"/>
                        </a:rPr>
                        <a:t>2020B</a:t>
                      </a: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1">
                          <a:solidFill>
                            <a:schemeClr val="tx1"/>
                          </a:solidFill>
                          <a:latin typeface="+mn-lt"/>
                        </a:rPr>
                        <a:t>2021</a:t>
                      </a: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1">
                          <a:solidFill>
                            <a:schemeClr val="tx1"/>
                          </a:solidFill>
                          <a:latin typeface="+mn-lt"/>
                        </a:rPr>
                        <a:t>2021</a:t>
                      </a:r>
                    </a:p>
                    <a:p>
                      <a:pPr algn="ctr"/>
                      <a:r>
                        <a:rPr lang="en-US" sz="500" b="1">
                          <a:solidFill>
                            <a:schemeClr val="tx1"/>
                          </a:solidFill>
                          <a:latin typeface="+mn-lt"/>
                        </a:rPr>
                        <a:t>(Based on 2019 financials)</a:t>
                      </a: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1">
                          <a:solidFill>
                            <a:schemeClr val="tx1"/>
                          </a:solidFill>
                          <a:latin typeface="+mn-lt"/>
                        </a:rPr>
                        <a:t>Full Impact</a:t>
                      </a:r>
                    </a:p>
                    <a:p>
                      <a:pPr algn="ctr"/>
                      <a:r>
                        <a:rPr lang="en-US" sz="700" b="1">
                          <a:solidFill>
                            <a:schemeClr val="tx1"/>
                          </a:solidFill>
                          <a:latin typeface="+mn-lt"/>
                        </a:rPr>
                        <a:t>2021++*</a:t>
                      </a: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6140839"/>
                  </a:ext>
                </a:extLst>
              </a:tr>
              <a:tr h="1231840">
                <a:tc>
                  <a:txBody>
                    <a:bodyPr/>
                    <a:lstStyle/>
                    <a:p>
                      <a:pPr marL="0" marR="0" lvl="0" indent="0" algn="ctr" defTabSz="8591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9402" marR="49402" marT="24701" marB="2470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indent="0" algn="l" fontAlgn="ctr"/>
                      <a:endParaRPr lang="en-US" sz="8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kumimoji="0" lang="en-US" sz="80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32962" rtl="0" eaLnBrk="1" fontAlgn="ctr" latinLnBrk="0" hangingPunct="1"/>
                      <a:endParaRPr lang="en-US" sz="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95" marR="1295" marT="129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7213447"/>
                  </a:ext>
                </a:extLst>
              </a:tr>
              <a:tr h="1231840">
                <a:tc>
                  <a:txBody>
                    <a:bodyPr/>
                    <a:lstStyle/>
                    <a:p>
                      <a:pPr marL="0" lvl="0" indent="0" algn="ctr" defTabSz="932962">
                        <a:buFontTx/>
                        <a:buNone/>
                        <a:defRPr/>
                      </a:pPr>
                      <a:endParaRPr lang="en-US" sz="8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211" marR="67211" marT="33605" marB="3360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indent="0" algn="l" fontAlgn="ctr"/>
                      <a:endParaRPr lang="en-US" sz="8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32962" rtl="0" eaLnBrk="1" fontAlgn="ctr" latinLnBrk="0" hangingPunct="1"/>
                      <a:endParaRPr lang="en-US" sz="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95" marR="1295" marT="129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1572090"/>
                  </a:ext>
                </a:extLst>
              </a:tr>
              <a:tr h="1231840">
                <a:tc>
                  <a:txBody>
                    <a:bodyPr/>
                    <a:lstStyle/>
                    <a:p>
                      <a:pPr marL="0" lvl="0" indent="0" algn="ctr" defTabSz="932962">
                        <a:buFontTx/>
                        <a:buNone/>
                        <a:defRPr/>
                      </a:pPr>
                      <a:endParaRPr lang="en-US" sz="8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211" marR="67211" marT="33605" marB="3360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indent="0" algn="l" defTabSz="685727" rtl="0" eaLnBrk="1" fontAlgn="ctr" latinLnBrk="0" hangingPunct="1"/>
                      <a:endParaRPr lang="en-US" sz="8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b="0" baseline="0"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32962" rtl="0" eaLnBrk="1" fontAlgn="ctr" latinLnBrk="0" hangingPunct="1"/>
                      <a:endParaRPr lang="en-US" sz="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95" marR="1295" marT="129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0142283"/>
                  </a:ext>
                </a:extLst>
              </a:tr>
              <a:tr h="1231840">
                <a:tc>
                  <a:txBody>
                    <a:bodyPr/>
                    <a:lstStyle/>
                    <a:p>
                      <a:pPr marL="0" lvl="0" indent="0" algn="ctr" defTabSz="932962">
                        <a:buFontTx/>
                        <a:buNone/>
                        <a:defRPr/>
                      </a:pPr>
                      <a:endParaRPr lang="en-US" sz="8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211" marR="67211" marT="33605" marB="3360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indent="0" algn="l" defTabSz="685727" rtl="0" eaLnBrk="1" fontAlgn="ctr" latinLnBrk="0" hangingPunct="1"/>
                      <a:endParaRPr lang="en-US" sz="8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b="0" baseline="0"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32962" rtl="0" eaLnBrk="1" fontAlgn="ctr" latinLnBrk="0" hangingPunct="1"/>
                      <a:endParaRPr lang="en-US" sz="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95" marR="1295" marT="129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304067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EEB15BE-FCCC-448C-BD77-098CA551FCD9}"/>
              </a:ext>
            </a:extLst>
          </p:cNvPr>
          <p:cNvSpPr txBox="1"/>
          <p:nvPr userDrawn="1"/>
        </p:nvSpPr>
        <p:spPr>
          <a:xfrm>
            <a:off x="8217378" y="115687"/>
            <a:ext cx="68739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82011AE-9F6E-4C37-AF63-87D9E29EECA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8144263" y="139440"/>
            <a:ext cx="137160" cy="137160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8A494EB-02AB-4AE6-802C-2671A6C8052C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11451780" y="139440"/>
            <a:ext cx="137160" cy="13716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20">
            <a:extLst>
              <a:ext uri="{FF2B5EF4-FFF2-40B4-BE49-F238E27FC236}">
                <a16:creationId xmlns:a16="http://schemas.microsoft.com/office/drawing/2014/main" id="{581E0DA4-A1D0-4AAB-8213-AEF7E297AF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427667" y="115687"/>
            <a:ext cx="96693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10" name="TextBox 21">
            <a:extLst>
              <a:ext uri="{FF2B5EF4-FFF2-40B4-BE49-F238E27FC236}">
                <a16:creationId xmlns:a16="http://schemas.microsoft.com/office/drawing/2014/main" id="{BD2574B5-96C4-4FAB-AB93-74DE9A4AF75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499914" y="115687"/>
            <a:ext cx="8034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5C7F1E4-7874-4A73-BED3-6D7CA665660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63820" y="139440"/>
            <a:ext cx="137160" cy="137160"/>
          </a:xfrm>
          <a:prstGeom prst="ellipse">
            <a:avLst/>
          </a:prstGeom>
          <a:solidFill>
            <a:srgbClr val="C0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8FE275E-0885-4EAE-8A1C-D3EFC8ADC3A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30640" y="139440"/>
            <a:ext cx="137160" cy="137160"/>
          </a:xfrm>
          <a:prstGeom prst="ellips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22">
            <a:extLst>
              <a:ext uri="{FF2B5EF4-FFF2-40B4-BE49-F238E27FC236}">
                <a16:creationId xmlns:a16="http://schemas.microsoft.com/office/drawing/2014/main" id="{B845A895-77A4-4324-8512-46E298D16D1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894126" y="115687"/>
            <a:ext cx="50045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15E1A94-AD5A-4E60-8899-3E0157A8C2A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825981" y="139440"/>
            <a:ext cx="137160" cy="137160"/>
          </a:xfrm>
          <a:prstGeom prst="ellipse">
            <a:avLst/>
          </a:prstGeom>
          <a:solidFill>
            <a:srgbClr val="20A048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8C4556-7126-46E8-89BF-B32FF126C943}"/>
              </a:ext>
            </a:extLst>
          </p:cNvPr>
          <p:cNvSpPr/>
          <p:nvPr userDrawn="1"/>
        </p:nvSpPr>
        <p:spPr>
          <a:xfrm>
            <a:off x="8086847" y="100298"/>
            <a:ext cx="3876918" cy="21544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F5D85FB-BB03-4714-8472-133AA454B3B3}"/>
              </a:ext>
            </a:extLst>
          </p:cNvPr>
          <p:cNvSpPr/>
          <p:nvPr userDrawn="1"/>
        </p:nvSpPr>
        <p:spPr>
          <a:xfrm>
            <a:off x="5302132" y="100298"/>
            <a:ext cx="2781650" cy="21544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35ED349-4095-47EC-8FC0-EE77CDB62887}"/>
              </a:ext>
            </a:extLst>
          </p:cNvPr>
          <p:cNvSpPr txBox="1"/>
          <p:nvPr userDrawn="1"/>
        </p:nvSpPr>
        <p:spPr>
          <a:xfrm>
            <a:off x="6850601" y="115687"/>
            <a:ext cx="129935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. Impact verified by Finance</a:t>
            </a:r>
          </a:p>
        </p:txBody>
      </p:sp>
      <p:sp>
        <p:nvSpPr>
          <p:cNvPr id="18" name="Flowchart: Extract 17">
            <a:extLst>
              <a:ext uri="{FF2B5EF4-FFF2-40B4-BE49-F238E27FC236}">
                <a16:creationId xmlns:a16="http://schemas.microsoft.com/office/drawing/2014/main" id="{03134668-4087-4661-82A5-6C57BCD93EF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57405" y="139440"/>
            <a:ext cx="137160" cy="137160"/>
          </a:xfrm>
          <a:prstGeom prst="flowChartExtract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9B130AC-0471-4CAB-B667-C1DAE91635C6}"/>
              </a:ext>
            </a:extLst>
          </p:cNvPr>
          <p:cNvSpPr txBox="1"/>
          <p:nvPr userDrawn="1"/>
        </p:nvSpPr>
        <p:spPr>
          <a:xfrm>
            <a:off x="5411631" y="115687"/>
            <a:ext cx="142691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. Impact under Finance review</a:t>
            </a:r>
          </a:p>
        </p:txBody>
      </p:sp>
      <p:sp>
        <p:nvSpPr>
          <p:cNvPr id="20" name="Flowchart: Extract 19">
            <a:extLst>
              <a:ext uri="{FF2B5EF4-FFF2-40B4-BE49-F238E27FC236}">
                <a16:creationId xmlns:a16="http://schemas.microsoft.com/office/drawing/2014/main" id="{29D1DA6E-6F8D-4503-984B-B1189A8796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786621" y="139440"/>
            <a:ext cx="137160" cy="137160"/>
          </a:xfrm>
          <a:prstGeom prst="flowChartExtract">
            <a:avLst/>
          </a:prstGeom>
          <a:solidFill>
            <a:srgbClr val="20A048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F87B76A-F683-4C2A-9459-B365D1835F3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62090" y="115687"/>
            <a:ext cx="38710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Hold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856D14B2-32C0-4608-AEE1-D56F2DD84F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885" y="315742"/>
            <a:ext cx="11796880" cy="307777"/>
          </a:xfrm>
        </p:spPr>
        <p:txBody>
          <a:bodyPr/>
          <a:lstStyle>
            <a:lvl1pPr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09AACAE-DB6E-41AD-B23F-ABF0E2189F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79416" y="1457265"/>
            <a:ext cx="5900018" cy="1145365"/>
          </a:xfrm>
        </p:spPr>
        <p:txBody>
          <a:bodyPr anchor="ctr">
            <a:normAutofit/>
          </a:bodyPr>
          <a:lstStyle>
            <a:lvl1pPr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0E4164FD-E5D7-4362-A215-C3C2EBA968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79416" y="2693868"/>
            <a:ext cx="5900018" cy="1145365"/>
          </a:xfrm>
        </p:spPr>
        <p:txBody>
          <a:bodyPr anchor="ctr">
            <a:normAutofit/>
          </a:bodyPr>
          <a:lstStyle>
            <a:lvl1pPr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B6DAEDCF-2A45-40C8-9A88-32A3858340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79416" y="3930471"/>
            <a:ext cx="5900018" cy="1145365"/>
          </a:xfrm>
        </p:spPr>
        <p:txBody>
          <a:bodyPr anchor="ctr">
            <a:normAutofit/>
          </a:bodyPr>
          <a:lstStyle>
            <a:lvl1pPr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2ECDC6A3-74CF-436C-AB7C-3B5C6C900B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79416" y="5158846"/>
            <a:ext cx="5900018" cy="1145365"/>
          </a:xfrm>
        </p:spPr>
        <p:txBody>
          <a:bodyPr anchor="ctr">
            <a:normAutofit/>
          </a:bodyPr>
          <a:lstStyle>
            <a:lvl1pPr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7" name="Text Placeholder 27">
            <a:extLst>
              <a:ext uri="{FF2B5EF4-FFF2-40B4-BE49-F238E27FC236}">
                <a16:creationId xmlns:a16="http://schemas.microsoft.com/office/drawing/2014/main" id="{81E69C28-F6FB-4024-A3BD-E6BF43370A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26204" y="1457265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91A86FE9-F275-457A-8386-C61DFBA217C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026204" y="2693868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9" name="Text Placeholder 27">
            <a:extLst>
              <a:ext uri="{FF2B5EF4-FFF2-40B4-BE49-F238E27FC236}">
                <a16:creationId xmlns:a16="http://schemas.microsoft.com/office/drawing/2014/main" id="{B731B154-A4E5-47A1-98AE-C37CCF1B38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26204" y="3930471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0" name="Text Placeholder 27">
            <a:extLst>
              <a:ext uri="{FF2B5EF4-FFF2-40B4-BE49-F238E27FC236}">
                <a16:creationId xmlns:a16="http://schemas.microsoft.com/office/drawing/2014/main" id="{AC8DB373-6F49-4A0E-9B75-11DEB4247DA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26204" y="5158846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1" name="Text Placeholder 27">
            <a:extLst>
              <a:ext uri="{FF2B5EF4-FFF2-40B4-BE49-F238E27FC236}">
                <a16:creationId xmlns:a16="http://schemas.microsoft.com/office/drawing/2014/main" id="{1B495A40-0A96-41E6-97E7-E974526FE24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77275" y="1457265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2" name="Text Placeholder 27">
            <a:extLst>
              <a:ext uri="{FF2B5EF4-FFF2-40B4-BE49-F238E27FC236}">
                <a16:creationId xmlns:a16="http://schemas.microsoft.com/office/drawing/2014/main" id="{3E00486E-45EF-42B5-B115-74F0A70A6A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677275" y="2693868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3" name="Text Placeholder 27">
            <a:extLst>
              <a:ext uri="{FF2B5EF4-FFF2-40B4-BE49-F238E27FC236}">
                <a16:creationId xmlns:a16="http://schemas.microsoft.com/office/drawing/2014/main" id="{D37BE557-48B8-48B5-AE57-C919CE5FCAC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77275" y="3930471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4" name="Text Placeholder 27">
            <a:extLst>
              <a:ext uri="{FF2B5EF4-FFF2-40B4-BE49-F238E27FC236}">
                <a16:creationId xmlns:a16="http://schemas.microsoft.com/office/drawing/2014/main" id="{97F187F3-FC57-4E21-8826-0BB8F06BC1D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677275" y="5158846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5" name="Text Placeholder 27">
            <a:extLst>
              <a:ext uri="{FF2B5EF4-FFF2-40B4-BE49-F238E27FC236}">
                <a16:creationId xmlns:a16="http://schemas.microsoft.com/office/drawing/2014/main" id="{55DAAA3C-71CE-42BC-B4C5-E88DC42429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346225" y="1457265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6" name="Text Placeholder 27">
            <a:extLst>
              <a:ext uri="{FF2B5EF4-FFF2-40B4-BE49-F238E27FC236}">
                <a16:creationId xmlns:a16="http://schemas.microsoft.com/office/drawing/2014/main" id="{C1341EA6-D1EF-401D-87CB-B4A00269E88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46225" y="2693868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7" name="Text Placeholder 27">
            <a:extLst>
              <a:ext uri="{FF2B5EF4-FFF2-40B4-BE49-F238E27FC236}">
                <a16:creationId xmlns:a16="http://schemas.microsoft.com/office/drawing/2014/main" id="{AB88B55A-138D-4E61-867A-C2FADF9D81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46225" y="3930471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8" name="Text Placeholder 27">
            <a:extLst>
              <a:ext uri="{FF2B5EF4-FFF2-40B4-BE49-F238E27FC236}">
                <a16:creationId xmlns:a16="http://schemas.microsoft.com/office/drawing/2014/main" id="{A4D7BD19-5E04-42C1-889F-ACFE561A392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346225" y="5158846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9" name="Text Placeholder 27">
            <a:extLst>
              <a:ext uri="{FF2B5EF4-FFF2-40B4-BE49-F238E27FC236}">
                <a16:creationId xmlns:a16="http://schemas.microsoft.com/office/drawing/2014/main" id="{956D4AC7-ADE4-4CAB-9027-D5ACBDCEA1B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878309" y="1457265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0" name="Text Placeholder 27">
            <a:extLst>
              <a:ext uri="{FF2B5EF4-FFF2-40B4-BE49-F238E27FC236}">
                <a16:creationId xmlns:a16="http://schemas.microsoft.com/office/drawing/2014/main" id="{E7793CF1-95F1-4E53-BBDD-F548BB1283B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878309" y="2693868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1" name="Text Placeholder 27">
            <a:extLst>
              <a:ext uri="{FF2B5EF4-FFF2-40B4-BE49-F238E27FC236}">
                <a16:creationId xmlns:a16="http://schemas.microsoft.com/office/drawing/2014/main" id="{723F05CF-44C2-47A7-9150-D4B0E6314FD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878309" y="3930471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2" name="Text Placeholder 27">
            <a:extLst>
              <a:ext uri="{FF2B5EF4-FFF2-40B4-BE49-F238E27FC236}">
                <a16:creationId xmlns:a16="http://schemas.microsoft.com/office/drawing/2014/main" id="{76055081-4FF3-446C-B6F6-65C21065F55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878309" y="5158846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3" name="Text Placeholder 27">
            <a:extLst>
              <a:ext uri="{FF2B5EF4-FFF2-40B4-BE49-F238E27FC236}">
                <a16:creationId xmlns:a16="http://schemas.microsoft.com/office/drawing/2014/main" id="{94B7C2D6-5908-4034-87C7-E2BF670B0C2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0410393" y="1457265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4" name="Text Placeholder 27">
            <a:extLst>
              <a:ext uri="{FF2B5EF4-FFF2-40B4-BE49-F238E27FC236}">
                <a16:creationId xmlns:a16="http://schemas.microsoft.com/office/drawing/2014/main" id="{4CA49791-A442-47E3-A1AF-850C548F53E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410393" y="2693868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5" name="Text Placeholder 27">
            <a:extLst>
              <a:ext uri="{FF2B5EF4-FFF2-40B4-BE49-F238E27FC236}">
                <a16:creationId xmlns:a16="http://schemas.microsoft.com/office/drawing/2014/main" id="{1A06BEAF-843C-4FFE-9C4C-590D617F74B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410393" y="3930471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6" name="Text Placeholder 27">
            <a:extLst>
              <a:ext uri="{FF2B5EF4-FFF2-40B4-BE49-F238E27FC236}">
                <a16:creationId xmlns:a16="http://schemas.microsoft.com/office/drawing/2014/main" id="{3774C84E-48A1-40DF-A8C7-5E82A5C3E9B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0410393" y="5158846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7" name="Text Placeholder 27">
            <a:extLst>
              <a:ext uri="{FF2B5EF4-FFF2-40B4-BE49-F238E27FC236}">
                <a16:creationId xmlns:a16="http://schemas.microsoft.com/office/drawing/2014/main" id="{F7CE0ED7-A3C1-4DBD-8DF1-B1452D7F572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942477" y="1457265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8" name="Text Placeholder 27">
            <a:extLst>
              <a:ext uri="{FF2B5EF4-FFF2-40B4-BE49-F238E27FC236}">
                <a16:creationId xmlns:a16="http://schemas.microsoft.com/office/drawing/2014/main" id="{C628E93D-F075-4B9C-B617-1454249653E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942477" y="2693868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9" name="Text Placeholder 27">
            <a:extLst>
              <a:ext uri="{FF2B5EF4-FFF2-40B4-BE49-F238E27FC236}">
                <a16:creationId xmlns:a16="http://schemas.microsoft.com/office/drawing/2014/main" id="{3FF9FE0B-738F-40BB-B60C-8EEFB817639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0942477" y="3930471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Text Placeholder 27">
            <a:extLst>
              <a:ext uri="{FF2B5EF4-FFF2-40B4-BE49-F238E27FC236}">
                <a16:creationId xmlns:a16="http://schemas.microsoft.com/office/drawing/2014/main" id="{5AC7FF10-81D6-4825-980E-7F077D2DE3A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942477" y="5158846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1" name="Text Placeholder 27">
            <a:extLst>
              <a:ext uri="{FF2B5EF4-FFF2-40B4-BE49-F238E27FC236}">
                <a16:creationId xmlns:a16="http://schemas.microsoft.com/office/drawing/2014/main" id="{FD38FC1B-837B-49C3-8817-0EC33DE28D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1468288" y="1457265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Text Placeholder 27">
            <a:extLst>
              <a:ext uri="{FF2B5EF4-FFF2-40B4-BE49-F238E27FC236}">
                <a16:creationId xmlns:a16="http://schemas.microsoft.com/office/drawing/2014/main" id="{9273B36A-D573-497A-8EB2-81C307FAD89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1468288" y="2693868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3" name="Text Placeholder 27">
            <a:extLst>
              <a:ext uri="{FF2B5EF4-FFF2-40B4-BE49-F238E27FC236}">
                <a16:creationId xmlns:a16="http://schemas.microsoft.com/office/drawing/2014/main" id="{786A174C-0800-448E-8C90-B1CED81EC4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1468288" y="3930471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Text Placeholder 27">
            <a:extLst>
              <a:ext uri="{FF2B5EF4-FFF2-40B4-BE49-F238E27FC236}">
                <a16:creationId xmlns:a16="http://schemas.microsoft.com/office/drawing/2014/main" id="{C50557A7-C384-42B5-96E6-F0190F8A11A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1468288" y="5158846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5" name="Text Placeholder 27">
            <a:extLst>
              <a:ext uri="{FF2B5EF4-FFF2-40B4-BE49-F238E27FC236}">
                <a16:creationId xmlns:a16="http://schemas.microsoft.com/office/drawing/2014/main" id="{E1816182-F44B-41DF-AA31-32FA523EEF8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69153" y="1457265"/>
            <a:ext cx="1016747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6" name="Text Placeholder 27">
            <a:extLst>
              <a:ext uri="{FF2B5EF4-FFF2-40B4-BE49-F238E27FC236}">
                <a16:creationId xmlns:a16="http://schemas.microsoft.com/office/drawing/2014/main" id="{79ECA911-E97A-4472-9AC5-64DB1458DEB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69153" y="2693868"/>
            <a:ext cx="1016747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7" name="Text Placeholder 27">
            <a:extLst>
              <a:ext uri="{FF2B5EF4-FFF2-40B4-BE49-F238E27FC236}">
                <a16:creationId xmlns:a16="http://schemas.microsoft.com/office/drawing/2014/main" id="{1E4B4401-89D4-40EA-9475-7FF29ABA8DE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469153" y="3930471"/>
            <a:ext cx="1016747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8" name="Text Placeholder 27">
            <a:extLst>
              <a:ext uri="{FF2B5EF4-FFF2-40B4-BE49-F238E27FC236}">
                <a16:creationId xmlns:a16="http://schemas.microsoft.com/office/drawing/2014/main" id="{AC6B5644-2F08-412E-BBD9-C8AA9EFD4E72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469153" y="5158846"/>
            <a:ext cx="1016747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9" name="Text Placeholder 27">
            <a:extLst>
              <a:ext uri="{FF2B5EF4-FFF2-40B4-BE49-F238E27FC236}">
                <a16:creationId xmlns:a16="http://schemas.microsoft.com/office/drawing/2014/main" id="{E60822E7-11A7-4121-95BF-9F36BED3076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66886" y="1457265"/>
            <a:ext cx="255498" cy="1145365"/>
          </a:xfrm>
        </p:spPr>
        <p:txBody>
          <a:bodyPr vert="wordArtVert"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0" name="Text Placeholder 27">
            <a:extLst>
              <a:ext uri="{FF2B5EF4-FFF2-40B4-BE49-F238E27FC236}">
                <a16:creationId xmlns:a16="http://schemas.microsoft.com/office/drawing/2014/main" id="{54F5F01B-05B3-4F19-A970-16B0A567A8E5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66886" y="2693868"/>
            <a:ext cx="255498" cy="1145365"/>
          </a:xfrm>
        </p:spPr>
        <p:txBody>
          <a:bodyPr vert="wordArtVert"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1" name="Text Placeholder 27">
            <a:extLst>
              <a:ext uri="{FF2B5EF4-FFF2-40B4-BE49-F238E27FC236}">
                <a16:creationId xmlns:a16="http://schemas.microsoft.com/office/drawing/2014/main" id="{EF26A4AD-BB27-4442-9523-E621CA6CF555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66886" y="3930471"/>
            <a:ext cx="255498" cy="1145365"/>
          </a:xfrm>
        </p:spPr>
        <p:txBody>
          <a:bodyPr vert="wordArtVert"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2" name="Text Placeholder 27">
            <a:extLst>
              <a:ext uri="{FF2B5EF4-FFF2-40B4-BE49-F238E27FC236}">
                <a16:creationId xmlns:a16="http://schemas.microsoft.com/office/drawing/2014/main" id="{B15159F2-944D-486C-9647-609B71E7A6E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66886" y="5158846"/>
            <a:ext cx="255498" cy="1145365"/>
          </a:xfrm>
        </p:spPr>
        <p:txBody>
          <a:bodyPr vert="wordArtVert"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4" name="Table Placeholder 73">
            <a:extLst>
              <a:ext uri="{FF2B5EF4-FFF2-40B4-BE49-F238E27FC236}">
                <a16:creationId xmlns:a16="http://schemas.microsoft.com/office/drawing/2014/main" id="{6DFEB914-0055-42F2-B17B-B4656DBE0815}"/>
              </a:ext>
            </a:extLst>
          </p:cNvPr>
          <p:cNvSpPr>
            <a:spLocks noGrp="1"/>
          </p:cNvSpPr>
          <p:nvPr>
            <p:ph type="tbl" sz="quarter" idx="51"/>
          </p:nvPr>
        </p:nvSpPr>
        <p:spPr>
          <a:xfrm>
            <a:off x="1485900" y="1415599"/>
            <a:ext cx="593515" cy="4932502"/>
          </a:xfrm>
        </p:spPr>
        <p:txBody>
          <a:bodyPr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0258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1BC6E2-5FE9-4B3A-A15B-F74A5F0A38A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839ED61-BF2A-4EC3-BB7E-8C20F8EBF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266758"/>
            <a:ext cx="10711261" cy="36933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525155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2" pos="7536">
          <p15:clr>
            <a:srgbClr val="FBAE40"/>
          </p15:clr>
        </p15:guide>
        <p15:guide id="3" orient="horz" pos="888">
          <p15:clr>
            <a:srgbClr val="FBAE40"/>
          </p15:clr>
        </p15:guide>
        <p15:guide id="4" orient="horz" pos="403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6708788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977671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8D8F8BF-0F69-4654-B75F-86BDFDCDD7A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1027">
            <a:extLst>
              <a:ext uri="{FF2B5EF4-FFF2-40B4-BE49-F238E27FC236}">
                <a16:creationId xmlns:a16="http://schemas.microsoft.com/office/drawing/2014/main" id="{BB5D1B04-8238-4BEE-824B-D4BC6FB6DCD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BE4B46C-A289-44D2-AC2C-F8C42ED84D1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B9EA0C4-4120-4D2E-B08E-82A9EA6E6F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266758"/>
            <a:ext cx="10711261" cy="36933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3603592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/>
          <a:srcRect r="72206"/>
          <a:stretch/>
        </p:blipFill>
        <p:spPr>
          <a:xfrm>
            <a:off x="5437233" y="2951505"/>
            <a:ext cx="1317534" cy="954991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B69876-9785-4BC5-A491-B850EB1E09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6" name="Rectangle 1027">
            <a:extLst>
              <a:ext uri="{FF2B5EF4-FFF2-40B4-BE49-F238E27FC236}">
                <a16:creationId xmlns:a16="http://schemas.microsoft.com/office/drawing/2014/main" id="{1F51A78B-63EC-4994-84DA-7D57D2FCF7F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601036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EC25962-96E5-44A4-8763-2DBED4A8A3F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939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529792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1692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pt-BR" sz="1020" b="0" i="0" baseline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628253" y="1914726"/>
            <a:ext cx="4740388" cy="954991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628254" y="3449113"/>
            <a:ext cx="8840220" cy="3751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8" name="Rectangle 1027"/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86B6AC-D72B-46FF-9365-159E21B307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7630" y="3840458"/>
            <a:ext cx="8840220" cy="215444"/>
          </a:xfrm>
        </p:spPr>
        <p:txBody>
          <a:bodyPr/>
          <a:lstStyle>
            <a:lvl3pPr marL="111125" indent="0">
              <a:buNone/>
              <a:defRPr sz="1400">
                <a:solidFill>
                  <a:schemeClr val="accent4"/>
                </a:solidFill>
              </a:defRPr>
            </a:lvl3pPr>
          </a:lstStyle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065262222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A9A3F86-9CAF-41EC-B6ED-38D5610A6F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9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A9A3F86-9CAF-41EC-B6ED-38D5610A6F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2CDC502-71D7-4BBD-B28A-4074286450F3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166885" y="723901"/>
          <a:ext cx="11811006" cy="562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637">
                  <a:extLst>
                    <a:ext uri="{9D8B030D-6E8A-4147-A177-3AD203B41FA5}">
                      <a16:colId xmlns:a16="http://schemas.microsoft.com/office/drawing/2014/main" val="3182506139"/>
                    </a:ext>
                  </a:extLst>
                </a:gridCol>
                <a:gridCol w="1086966">
                  <a:extLst>
                    <a:ext uri="{9D8B030D-6E8A-4147-A177-3AD203B41FA5}">
                      <a16:colId xmlns:a16="http://schemas.microsoft.com/office/drawing/2014/main" val="3459705777"/>
                    </a:ext>
                  </a:extLst>
                </a:gridCol>
                <a:gridCol w="519514">
                  <a:extLst>
                    <a:ext uri="{9D8B030D-6E8A-4147-A177-3AD203B41FA5}">
                      <a16:colId xmlns:a16="http://schemas.microsoft.com/office/drawing/2014/main" val="1200269335"/>
                    </a:ext>
                  </a:extLst>
                </a:gridCol>
                <a:gridCol w="5974985">
                  <a:extLst>
                    <a:ext uri="{9D8B030D-6E8A-4147-A177-3AD203B41FA5}">
                      <a16:colId xmlns:a16="http://schemas.microsoft.com/office/drawing/2014/main" val="1864111341"/>
                    </a:ext>
                  </a:extLst>
                </a:gridCol>
                <a:gridCol w="649077">
                  <a:extLst>
                    <a:ext uri="{9D8B030D-6E8A-4147-A177-3AD203B41FA5}">
                      <a16:colId xmlns:a16="http://schemas.microsoft.com/office/drawing/2014/main" val="431005462"/>
                    </a:ext>
                  </a:extLst>
                </a:gridCol>
                <a:gridCol w="649077">
                  <a:extLst>
                    <a:ext uri="{9D8B030D-6E8A-4147-A177-3AD203B41FA5}">
                      <a16:colId xmlns:a16="http://schemas.microsoft.com/office/drawing/2014/main" val="2393472503"/>
                    </a:ext>
                  </a:extLst>
                </a:gridCol>
                <a:gridCol w="532350">
                  <a:extLst>
                    <a:ext uri="{9D8B030D-6E8A-4147-A177-3AD203B41FA5}">
                      <a16:colId xmlns:a16="http://schemas.microsoft.com/office/drawing/2014/main" val="1275451485"/>
                    </a:ext>
                  </a:extLst>
                </a:gridCol>
                <a:gridCol w="532350">
                  <a:extLst>
                    <a:ext uri="{9D8B030D-6E8A-4147-A177-3AD203B41FA5}">
                      <a16:colId xmlns:a16="http://schemas.microsoft.com/office/drawing/2014/main" val="274075626"/>
                    </a:ext>
                  </a:extLst>
                </a:gridCol>
                <a:gridCol w="532350">
                  <a:extLst>
                    <a:ext uri="{9D8B030D-6E8A-4147-A177-3AD203B41FA5}">
                      <a16:colId xmlns:a16="http://schemas.microsoft.com/office/drawing/2014/main" val="227344035"/>
                    </a:ext>
                  </a:extLst>
                </a:gridCol>
                <a:gridCol w="532350">
                  <a:extLst>
                    <a:ext uri="{9D8B030D-6E8A-4147-A177-3AD203B41FA5}">
                      <a16:colId xmlns:a16="http://schemas.microsoft.com/office/drawing/2014/main" val="2865463556"/>
                    </a:ext>
                  </a:extLst>
                </a:gridCol>
                <a:gridCol w="532350">
                  <a:extLst>
                    <a:ext uri="{9D8B030D-6E8A-4147-A177-3AD203B41FA5}">
                      <a16:colId xmlns:a16="http://schemas.microsoft.com/office/drawing/2014/main" val="3678774939"/>
                    </a:ext>
                  </a:extLst>
                </a:gridCol>
              </a:tblGrid>
              <a:tr h="266640">
                <a:tc>
                  <a:txBody>
                    <a:bodyPr/>
                    <a:lstStyle/>
                    <a:p>
                      <a:r>
                        <a:rPr lang="en-US" sz="800">
                          <a:latin typeface="+mn-lt"/>
                        </a:rPr>
                        <a:t>#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latin typeface="+mn-lt"/>
                        </a:rPr>
                        <a:t>Project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latin typeface="+mn-lt"/>
                        </a:rPr>
                        <a:t>Status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latin typeface="+mn-lt"/>
                        </a:rPr>
                        <a:t>Update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noProof="0">
                          <a:latin typeface="+mn-lt"/>
                        </a:rPr>
                        <a:t>Sponsor</a:t>
                      </a:r>
                      <a:endParaRPr lang="en-US" sz="800">
                        <a:latin typeface="+mn-lt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latin typeface="+mn-lt"/>
                        </a:rPr>
                        <a:t>Lead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5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st. Impact (AED Mn)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5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*Full impact 2021++:</a:t>
                      </a:r>
                      <a:br>
                        <a:rPr lang="en-US" sz="5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5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et Profit beyond 2021 per AFE restricted to Year 2025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 b="1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 b="1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800" b="1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7081089"/>
                  </a:ext>
                </a:extLst>
              </a:tr>
              <a:tr h="241358">
                <a:tc gridSpan="4">
                  <a:txBody>
                    <a:bodyPr/>
                    <a:lstStyle/>
                    <a:p>
                      <a:pPr marL="0" marR="0" lvl="0" indent="0" algn="l" defTabSz="8591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ctive Projects</a:t>
                      </a:r>
                    </a:p>
                  </a:txBody>
                  <a:tcPr marL="67211" marR="67211" marT="33605" marB="3360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8591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211" marR="67211" marT="33605" marB="3360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700"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noProof="0">
                          <a:solidFill>
                            <a:schemeClr val="tx1"/>
                          </a:solidFill>
                          <a:latin typeface="+mn-lt"/>
                        </a:rPr>
                        <a:t>2020</a:t>
                      </a:r>
                      <a:r>
                        <a:rPr lang="en-US" sz="700" b="1" i="0" u="none" strike="noStrike" baseline="0" noProof="0">
                          <a:solidFill>
                            <a:schemeClr val="tx1"/>
                          </a:solidFill>
                          <a:latin typeface="+mn-lt"/>
                        </a:rPr>
                        <a:t>A</a:t>
                      </a:r>
                      <a:endParaRPr lang="en-US" sz="700" b="1" i="0" u="none" strike="noStrike" noProof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1">
                          <a:solidFill>
                            <a:schemeClr val="tx1"/>
                          </a:solidFill>
                          <a:latin typeface="+mn-lt"/>
                        </a:rPr>
                        <a:t>2020B</a:t>
                      </a: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1">
                          <a:solidFill>
                            <a:schemeClr val="tx1"/>
                          </a:solidFill>
                          <a:latin typeface="+mn-lt"/>
                        </a:rPr>
                        <a:t>2021</a:t>
                      </a: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1">
                          <a:solidFill>
                            <a:schemeClr val="tx1"/>
                          </a:solidFill>
                          <a:latin typeface="+mn-lt"/>
                        </a:rPr>
                        <a:t>2021</a:t>
                      </a:r>
                    </a:p>
                    <a:p>
                      <a:pPr algn="ctr"/>
                      <a:r>
                        <a:rPr lang="en-US" sz="500" b="1">
                          <a:solidFill>
                            <a:schemeClr val="tx1"/>
                          </a:solidFill>
                          <a:latin typeface="+mn-lt"/>
                        </a:rPr>
                        <a:t>(Based on 2019 financials)</a:t>
                      </a: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1">
                          <a:solidFill>
                            <a:schemeClr val="tx1"/>
                          </a:solidFill>
                          <a:latin typeface="+mn-lt"/>
                        </a:rPr>
                        <a:t>Full Impact</a:t>
                      </a:r>
                    </a:p>
                    <a:p>
                      <a:pPr algn="ctr"/>
                      <a:r>
                        <a:rPr lang="en-US" sz="700" b="1">
                          <a:solidFill>
                            <a:schemeClr val="tx1"/>
                          </a:solidFill>
                          <a:latin typeface="+mn-lt"/>
                        </a:rPr>
                        <a:t>2021++*</a:t>
                      </a: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6140839"/>
                  </a:ext>
                </a:extLst>
              </a:tr>
              <a:tr h="1231840">
                <a:tc>
                  <a:txBody>
                    <a:bodyPr/>
                    <a:lstStyle/>
                    <a:p>
                      <a:pPr marL="0" marR="0" lvl="0" indent="0" algn="ctr" defTabSz="8591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9402" marR="49402" marT="24701" marB="2470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indent="0" algn="l" fontAlgn="ctr"/>
                      <a:endParaRPr lang="en-US" sz="8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kumimoji="0" lang="en-US" sz="800" b="0" i="0" u="none" strike="noStrike" kern="120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32962" rtl="0" eaLnBrk="1" fontAlgn="ctr" latinLnBrk="0" hangingPunct="1"/>
                      <a:endParaRPr lang="en-US" sz="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95" marR="1295" marT="129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7213447"/>
                  </a:ext>
                </a:extLst>
              </a:tr>
              <a:tr h="1231840">
                <a:tc>
                  <a:txBody>
                    <a:bodyPr/>
                    <a:lstStyle/>
                    <a:p>
                      <a:pPr marL="0" lvl="0" indent="0" algn="ctr" defTabSz="932962">
                        <a:buFontTx/>
                        <a:buNone/>
                        <a:defRPr/>
                      </a:pPr>
                      <a:endParaRPr lang="en-US" sz="8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211" marR="67211" marT="33605" marB="3360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indent="0" algn="l" fontAlgn="ctr"/>
                      <a:endParaRPr lang="en-US" sz="8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32962" rtl="0" eaLnBrk="1" fontAlgn="ctr" latinLnBrk="0" hangingPunct="1"/>
                      <a:endParaRPr lang="en-US" sz="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95" marR="1295" marT="129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1572090"/>
                  </a:ext>
                </a:extLst>
              </a:tr>
              <a:tr h="1231840">
                <a:tc>
                  <a:txBody>
                    <a:bodyPr/>
                    <a:lstStyle/>
                    <a:p>
                      <a:pPr marL="0" lvl="0" indent="0" algn="ctr" defTabSz="932962">
                        <a:buFontTx/>
                        <a:buNone/>
                        <a:defRPr/>
                      </a:pPr>
                      <a:endParaRPr lang="en-US" sz="8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211" marR="67211" marT="33605" marB="3360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indent="0" algn="l" defTabSz="685727" rtl="0" eaLnBrk="1" fontAlgn="ctr" latinLnBrk="0" hangingPunct="1"/>
                      <a:endParaRPr lang="en-US" sz="8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b="0" baseline="0"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32962" rtl="0" eaLnBrk="1" fontAlgn="ctr" latinLnBrk="0" hangingPunct="1"/>
                      <a:endParaRPr lang="en-US" sz="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95" marR="1295" marT="129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0142283"/>
                  </a:ext>
                </a:extLst>
              </a:tr>
              <a:tr h="1231840">
                <a:tc>
                  <a:txBody>
                    <a:bodyPr/>
                    <a:lstStyle/>
                    <a:p>
                      <a:pPr marL="0" lvl="0" indent="0" algn="ctr" defTabSz="932962">
                        <a:buFontTx/>
                        <a:buNone/>
                        <a:defRPr/>
                      </a:pPr>
                      <a:endParaRPr lang="en-US" sz="8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211" marR="67211" marT="33605" marB="3360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0325" indent="0" algn="l" defTabSz="685727" rtl="0" eaLnBrk="1" fontAlgn="ctr" latinLnBrk="0" hangingPunct="1"/>
                      <a:endParaRPr lang="en-US" sz="8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1269" marR="1269" marT="126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b="0" baseline="0"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32962" rtl="0" eaLnBrk="1" fontAlgn="ctr" latinLnBrk="0" hangingPunct="1"/>
                      <a:endParaRPr lang="en-US" sz="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95" marR="1295" marT="129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304067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EEB15BE-FCCC-448C-BD77-098CA551FCD9}"/>
              </a:ext>
            </a:extLst>
          </p:cNvPr>
          <p:cNvSpPr txBox="1"/>
          <p:nvPr userDrawn="1"/>
        </p:nvSpPr>
        <p:spPr>
          <a:xfrm>
            <a:off x="8217378" y="115687"/>
            <a:ext cx="68739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82011AE-9F6E-4C37-AF63-87D9E29EECA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8144263" y="139440"/>
            <a:ext cx="137160" cy="137160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8A494EB-02AB-4AE6-802C-2671A6C8052C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11451780" y="139440"/>
            <a:ext cx="137160" cy="13716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20">
            <a:extLst>
              <a:ext uri="{FF2B5EF4-FFF2-40B4-BE49-F238E27FC236}">
                <a16:creationId xmlns:a16="http://schemas.microsoft.com/office/drawing/2014/main" id="{581E0DA4-A1D0-4AAB-8213-AEF7E297AF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427667" y="115687"/>
            <a:ext cx="96693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10" name="TextBox 21">
            <a:extLst>
              <a:ext uri="{FF2B5EF4-FFF2-40B4-BE49-F238E27FC236}">
                <a16:creationId xmlns:a16="http://schemas.microsoft.com/office/drawing/2014/main" id="{BD2574B5-96C4-4FAB-AB93-74DE9A4AF75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499914" y="115687"/>
            <a:ext cx="8034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5C7F1E4-7874-4A73-BED3-6D7CA665660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63820" y="139440"/>
            <a:ext cx="137160" cy="137160"/>
          </a:xfrm>
          <a:prstGeom prst="ellipse">
            <a:avLst/>
          </a:prstGeom>
          <a:solidFill>
            <a:srgbClr val="C0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8FE275E-0885-4EAE-8A1C-D3EFC8ADC3A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30640" y="139440"/>
            <a:ext cx="137160" cy="137160"/>
          </a:xfrm>
          <a:prstGeom prst="ellips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22">
            <a:extLst>
              <a:ext uri="{FF2B5EF4-FFF2-40B4-BE49-F238E27FC236}">
                <a16:creationId xmlns:a16="http://schemas.microsoft.com/office/drawing/2014/main" id="{B845A895-77A4-4324-8512-46E298D16D1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894126" y="115687"/>
            <a:ext cx="50045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15E1A94-AD5A-4E60-8899-3E0157A8C2A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825981" y="139440"/>
            <a:ext cx="137160" cy="137160"/>
          </a:xfrm>
          <a:prstGeom prst="ellipse">
            <a:avLst/>
          </a:prstGeom>
          <a:solidFill>
            <a:srgbClr val="20A048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8C4556-7126-46E8-89BF-B32FF126C943}"/>
              </a:ext>
            </a:extLst>
          </p:cNvPr>
          <p:cNvSpPr/>
          <p:nvPr userDrawn="1"/>
        </p:nvSpPr>
        <p:spPr>
          <a:xfrm>
            <a:off x="8086847" y="100298"/>
            <a:ext cx="3876918" cy="21544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F5D85FB-BB03-4714-8472-133AA454B3B3}"/>
              </a:ext>
            </a:extLst>
          </p:cNvPr>
          <p:cNvSpPr/>
          <p:nvPr userDrawn="1"/>
        </p:nvSpPr>
        <p:spPr>
          <a:xfrm>
            <a:off x="5302132" y="100298"/>
            <a:ext cx="2781650" cy="21544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35ED349-4095-47EC-8FC0-EE77CDB62887}"/>
              </a:ext>
            </a:extLst>
          </p:cNvPr>
          <p:cNvSpPr txBox="1"/>
          <p:nvPr userDrawn="1"/>
        </p:nvSpPr>
        <p:spPr>
          <a:xfrm>
            <a:off x="6850601" y="115687"/>
            <a:ext cx="129935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. Impact verified by Finance</a:t>
            </a:r>
          </a:p>
        </p:txBody>
      </p:sp>
      <p:sp>
        <p:nvSpPr>
          <p:cNvPr id="18" name="Flowchart: Extract 17">
            <a:extLst>
              <a:ext uri="{FF2B5EF4-FFF2-40B4-BE49-F238E27FC236}">
                <a16:creationId xmlns:a16="http://schemas.microsoft.com/office/drawing/2014/main" id="{03134668-4087-4661-82A5-6C57BCD93EF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57405" y="139440"/>
            <a:ext cx="137160" cy="137160"/>
          </a:xfrm>
          <a:prstGeom prst="flowChartExtract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9B130AC-0471-4CAB-B667-C1DAE91635C6}"/>
              </a:ext>
            </a:extLst>
          </p:cNvPr>
          <p:cNvSpPr txBox="1"/>
          <p:nvPr userDrawn="1"/>
        </p:nvSpPr>
        <p:spPr>
          <a:xfrm>
            <a:off x="5411631" y="115687"/>
            <a:ext cx="142691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. Impact under Finance review</a:t>
            </a:r>
          </a:p>
        </p:txBody>
      </p:sp>
      <p:sp>
        <p:nvSpPr>
          <p:cNvPr id="20" name="Flowchart: Extract 19">
            <a:extLst>
              <a:ext uri="{FF2B5EF4-FFF2-40B4-BE49-F238E27FC236}">
                <a16:creationId xmlns:a16="http://schemas.microsoft.com/office/drawing/2014/main" id="{29D1DA6E-6F8D-4503-984B-B1189A8796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786621" y="139440"/>
            <a:ext cx="137160" cy="137160"/>
          </a:xfrm>
          <a:prstGeom prst="flowChartExtract">
            <a:avLst/>
          </a:prstGeom>
          <a:solidFill>
            <a:srgbClr val="20A048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F87B76A-F683-4C2A-9459-B365D1835F3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62090" y="115687"/>
            <a:ext cx="38710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Hold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856D14B2-32C0-4608-AEE1-D56F2DD84F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885" y="315742"/>
            <a:ext cx="11796880" cy="307777"/>
          </a:xfrm>
        </p:spPr>
        <p:txBody>
          <a:bodyPr/>
          <a:lstStyle>
            <a:lvl1pPr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09AACAE-DB6E-41AD-B23F-ABF0E2189F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79416" y="1457265"/>
            <a:ext cx="5900018" cy="1145365"/>
          </a:xfrm>
        </p:spPr>
        <p:txBody>
          <a:bodyPr anchor="ctr">
            <a:normAutofit/>
          </a:bodyPr>
          <a:lstStyle>
            <a:lvl1pPr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0E4164FD-E5D7-4362-A215-C3C2EBA968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79416" y="2693868"/>
            <a:ext cx="5900018" cy="1145365"/>
          </a:xfrm>
        </p:spPr>
        <p:txBody>
          <a:bodyPr anchor="ctr">
            <a:normAutofit/>
          </a:bodyPr>
          <a:lstStyle>
            <a:lvl1pPr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B6DAEDCF-2A45-40C8-9A88-32A3858340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79416" y="3930471"/>
            <a:ext cx="5900018" cy="1145365"/>
          </a:xfrm>
        </p:spPr>
        <p:txBody>
          <a:bodyPr anchor="ctr">
            <a:normAutofit/>
          </a:bodyPr>
          <a:lstStyle>
            <a:lvl1pPr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2ECDC6A3-74CF-436C-AB7C-3B5C6C900B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79416" y="5158846"/>
            <a:ext cx="5900018" cy="1145365"/>
          </a:xfrm>
        </p:spPr>
        <p:txBody>
          <a:bodyPr anchor="ctr">
            <a:normAutofit/>
          </a:bodyPr>
          <a:lstStyle>
            <a:lvl1pPr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7" name="Text Placeholder 27">
            <a:extLst>
              <a:ext uri="{FF2B5EF4-FFF2-40B4-BE49-F238E27FC236}">
                <a16:creationId xmlns:a16="http://schemas.microsoft.com/office/drawing/2014/main" id="{81E69C28-F6FB-4024-A3BD-E6BF43370A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26204" y="1457265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91A86FE9-F275-457A-8386-C61DFBA217C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026204" y="2693868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9" name="Text Placeholder 27">
            <a:extLst>
              <a:ext uri="{FF2B5EF4-FFF2-40B4-BE49-F238E27FC236}">
                <a16:creationId xmlns:a16="http://schemas.microsoft.com/office/drawing/2014/main" id="{B731B154-A4E5-47A1-98AE-C37CCF1B38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26204" y="3930471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0" name="Text Placeholder 27">
            <a:extLst>
              <a:ext uri="{FF2B5EF4-FFF2-40B4-BE49-F238E27FC236}">
                <a16:creationId xmlns:a16="http://schemas.microsoft.com/office/drawing/2014/main" id="{AC8DB373-6F49-4A0E-9B75-11DEB4247DA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26204" y="5158846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1" name="Text Placeholder 27">
            <a:extLst>
              <a:ext uri="{FF2B5EF4-FFF2-40B4-BE49-F238E27FC236}">
                <a16:creationId xmlns:a16="http://schemas.microsoft.com/office/drawing/2014/main" id="{1B495A40-0A96-41E6-97E7-E974526FE24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77275" y="1457265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2" name="Text Placeholder 27">
            <a:extLst>
              <a:ext uri="{FF2B5EF4-FFF2-40B4-BE49-F238E27FC236}">
                <a16:creationId xmlns:a16="http://schemas.microsoft.com/office/drawing/2014/main" id="{3E00486E-45EF-42B5-B115-74F0A70A6A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677275" y="2693868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3" name="Text Placeholder 27">
            <a:extLst>
              <a:ext uri="{FF2B5EF4-FFF2-40B4-BE49-F238E27FC236}">
                <a16:creationId xmlns:a16="http://schemas.microsoft.com/office/drawing/2014/main" id="{D37BE557-48B8-48B5-AE57-C919CE5FCAC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77275" y="3930471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4" name="Text Placeholder 27">
            <a:extLst>
              <a:ext uri="{FF2B5EF4-FFF2-40B4-BE49-F238E27FC236}">
                <a16:creationId xmlns:a16="http://schemas.microsoft.com/office/drawing/2014/main" id="{97F187F3-FC57-4E21-8826-0BB8F06BC1D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677275" y="5158846"/>
            <a:ext cx="623639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5" name="Text Placeholder 27">
            <a:extLst>
              <a:ext uri="{FF2B5EF4-FFF2-40B4-BE49-F238E27FC236}">
                <a16:creationId xmlns:a16="http://schemas.microsoft.com/office/drawing/2014/main" id="{55DAAA3C-71CE-42BC-B4C5-E88DC42429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346225" y="1457265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6" name="Text Placeholder 27">
            <a:extLst>
              <a:ext uri="{FF2B5EF4-FFF2-40B4-BE49-F238E27FC236}">
                <a16:creationId xmlns:a16="http://schemas.microsoft.com/office/drawing/2014/main" id="{C1341EA6-D1EF-401D-87CB-B4A00269E88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46225" y="2693868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7" name="Text Placeholder 27">
            <a:extLst>
              <a:ext uri="{FF2B5EF4-FFF2-40B4-BE49-F238E27FC236}">
                <a16:creationId xmlns:a16="http://schemas.microsoft.com/office/drawing/2014/main" id="{AB88B55A-138D-4E61-867A-C2FADF9D81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46225" y="3930471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8" name="Text Placeholder 27">
            <a:extLst>
              <a:ext uri="{FF2B5EF4-FFF2-40B4-BE49-F238E27FC236}">
                <a16:creationId xmlns:a16="http://schemas.microsoft.com/office/drawing/2014/main" id="{A4D7BD19-5E04-42C1-889F-ACFE561A392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346225" y="5158846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9" name="Text Placeholder 27">
            <a:extLst>
              <a:ext uri="{FF2B5EF4-FFF2-40B4-BE49-F238E27FC236}">
                <a16:creationId xmlns:a16="http://schemas.microsoft.com/office/drawing/2014/main" id="{956D4AC7-ADE4-4CAB-9027-D5ACBDCEA1B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878309" y="1457265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0" name="Text Placeholder 27">
            <a:extLst>
              <a:ext uri="{FF2B5EF4-FFF2-40B4-BE49-F238E27FC236}">
                <a16:creationId xmlns:a16="http://schemas.microsoft.com/office/drawing/2014/main" id="{E7793CF1-95F1-4E53-BBDD-F548BB1283B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878309" y="2693868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1" name="Text Placeholder 27">
            <a:extLst>
              <a:ext uri="{FF2B5EF4-FFF2-40B4-BE49-F238E27FC236}">
                <a16:creationId xmlns:a16="http://schemas.microsoft.com/office/drawing/2014/main" id="{723F05CF-44C2-47A7-9150-D4B0E6314FD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878309" y="3930471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2" name="Text Placeholder 27">
            <a:extLst>
              <a:ext uri="{FF2B5EF4-FFF2-40B4-BE49-F238E27FC236}">
                <a16:creationId xmlns:a16="http://schemas.microsoft.com/office/drawing/2014/main" id="{76055081-4FF3-446C-B6F6-65C21065F55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878309" y="5158846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3" name="Text Placeholder 27">
            <a:extLst>
              <a:ext uri="{FF2B5EF4-FFF2-40B4-BE49-F238E27FC236}">
                <a16:creationId xmlns:a16="http://schemas.microsoft.com/office/drawing/2014/main" id="{94B7C2D6-5908-4034-87C7-E2BF670B0C2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0410393" y="1457265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4" name="Text Placeholder 27">
            <a:extLst>
              <a:ext uri="{FF2B5EF4-FFF2-40B4-BE49-F238E27FC236}">
                <a16:creationId xmlns:a16="http://schemas.microsoft.com/office/drawing/2014/main" id="{4CA49791-A442-47E3-A1AF-850C548F53E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410393" y="2693868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5" name="Text Placeholder 27">
            <a:extLst>
              <a:ext uri="{FF2B5EF4-FFF2-40B4-BE49-F238E27FC236}">
                <a16:creationId xmlns:a16="http://schemas.microsoft.com/office/drawing/2014/main" id="{1A06BEAF-843C-4FFE-9C4C-590D617F74B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410393" y="3930471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6" name="Text Placeholder 27">
            <a:extLst>
              <a:ext uri="{FF2B5EF4-FFF2-40B4-BE49-F238E27FC236}">
                <a16:creationId xmlns:a16="http://schemas.microsoft.com/office/drawing/2014/main" id="{3774C84E-48A1-40DF-A8C7-5E82A5C3E9B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0410393" y="5158846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7" name="Text Placeholder 27">
            <a:extLst>
              <a:ext uri="{FF2B5EF4-FFF2-40B4-BE49-F238E27FC236}">
                <a16:creationId xmlns:a16="http://schemas.microsoft.com/office/drawing/2014/main" id="{F7CE0ED7-A3C1-4DBD-8DF1-B1452D7F572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942477" y="1457265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8" name="Text Placeholder 27">
            <a:extLst>
              <a:ext uri="{FF2B5EF4-FFF2-40B4-BE49-F238E27FC236}">
                <a16:creationId xmlns:a16="http://schemas.microsoft.com/office/drawing/2014/main" id="{C628E93D-F075-4B9C-B617-1454249653E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942477" y="2693868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9" name="Text Placeholder 27">
            <a:extLst>
              <a:ext uri="{FF2B5EF4-FFF2-40B4-BE49-F238E27FC236}">
                <a16:creationId xmlns:a16="http://schemas.microsoft.com/office/drawing/2014/main" id="{3FF9FE0B-738F-40BB-B60C-8EEFB817639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0942477" y="3930471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0" name="Text Placeholder 27">
            <a:extLst>
              <a:ext uri="{FF2B5EF4-FFF2-40B4-BE49-F238E27FC236}">
                <a16:creationId xmlns:a16="http://schemas.microsoft.com/office/drawing/2014/main" id="{5AC7FF10-81D6-4825-980E-7F077D2DE3A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942477" y="5158846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1" name="Text Placeholder 27">
            <a:extLst>
              <a:ext uri="{FF2B5EF4-FFF2-40B4-BE49-F238E27FC236}">
                <a16:creationId xmlns:a16="http://schemas.microsoft.com/office/drawing/2014/main" id="{FD38FC1B-837B-49C3-8817-0EC33DE28D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1468288" y="1457265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Text Placeholder 27">
            <a:extLst>
              <a:ext uri="{FF2B5EF4-FFF2-40B4-BE49-F238E27FC236}">
                <a16:creationId xmlns:a16="http://schemas.microsoft.com/office/drawing/2014/main" id="{9273B36A-D573-497A-8EB2-81C307FAD89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1468288" y="2693868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3" name="Text Placeholder 27">
            <a:extLst>
              <a:ext uri="{FF2B5EF4-FFF2-40B4-BE49-F238E27FC236}">
                <a16:creationId xmlns:a16="http://schemas.microsoft.com/office/drawing/2014/main" id="{786A174C-0800-448E-8C90-B1CED81EC4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1468288" y="3930471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Text Placeholder 27">
            <a:extLst>
              <a:ext uri="{FF2B5EF4-FFF2-40B4-BE49-F238E27FC236}">
                <a16:creationId xmlns:a16="http://schemas.microsoft.com/office/drawing/2014/main" id="{C50557A7-C384-42B5-96E6-F0190F8A11A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1468288" y="5158846"/>
            <a:ext cx="468550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5" name="Text Placeholder 27">
            <a:extLst>
              <a:ext uri="{FF2B5EF4-FFF2-40B4-BE49-F238E27FC236}">
                <a16:creationId xmlns:a16="http://schemas.microsoft.com/office/drawing/2014/main" id="{E1816182-F44B-41DF-AA31-32FA523EEF8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69153" y="1457265"/>
            <a:ext cx="1016747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6" name="Text Placeholder 27">
            <a:extLst>
              <a:ext uri="{FF2B5EF4-FFF2-40B4-BE49-F238E27FC236}">
                <a16:creationId xmlns:a16="http://schemas.microsoft.com/office/drawing/2014/main" id="{79ECA911-E97A-4472-9AC5-64DB1458DEB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69153" y="2693868"/>
            <a:ext cx="1016747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7" name="Text Placeholder 27">
            <a:extLst>
              <a:ext uri="{FF2B5EF4-FFF2-40B4-BE49-F238E27FC236}">
                <a16:creationId xmlns:a16="http://schemas.microsoft.com/office/drawing/2014/main" id="{1E4B4401-89D4-40EA-9475-7FF29ABA8DE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469153" y="3930471"/>
            <a:ext cx="1016747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8" name="Text Placeholder 27">
            <a:extLst>
              <a:ext uri="{FF2B5EF4-FFF2-40B4-BE49-F238E27FC236}">
                <a16:creationId xmlns:a16="http://schemas.microsoft.com/office/drawing/2014/main" id="{AC6B5644-2F08-412E-BBD9-C8AA9EFD4E72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469153" y="5158846"/>
            <a:ext cx="1016747" cy="1145365"/>
          </a:xfrm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9" name="Text Placeholder 27">
            <a:extLst>
              <a:ext uri="{FF2B5EF4-FFF2-40B4-BE49-F238E27FC236}">
                <a16:creationId xmlns:a16="http://schemas.microsoft.com/office/drawing/2014/main" id="{E60822E7-11A7-4121-95BF-9F36BED3076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66886" y="1457265"/>
            <a:ext cx="255498" cy="1145365"/>
          </a:xfrm>
        </p:spPr>
        <p:txBody>
          <a:bodyPr vert="wordArtVert"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0" name="Text Placeholder 27">
            <a:extLst>
              <a:ext uri="{FF2B5EF4-FFF2-40B4-BE49-F238E27FC236}">
                <a16:creationId xmlns:a16="http://schemas.microsoft.com/office/drawing/2014/main" id="{54F5F01B-05B3-4F19-A970-16B0A567A8E5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66886" y="2693868"/>
            <a:ext cx="255498" cy="1145365"/>
          </a:xfrm>
        </p:spPr>
        <p:txBody>
          <a:bodyPr vert="wordArtVert"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1" name="Text Placeholder 27">
            <a:extLst>
              <a:ext uri="{FF2B5EF4-FFF2-40B4-BE49-F238E27FC236}">
                <a16:creationId xmlns:a16="http://schemas.microsoft.com/office/drawing/2014/main" id="{EF26A4AD-BB27-4442-9523-E621CA6CF555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66886" y="3930471"/>
            <a:ext cx="255498" cy="1145365"/>
          </a:xfrm>
        </p:spPr>
        <p:txBody>
          <a:bodyPr vert="wordArtVert"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2" name="Text Placeholder 27">
            <a:extLst>
              <a:ext uri="{FF2B5EF4-FFF2-40B4-BE49-F238E27FC236}">
                <a16:creationId xmlns:a16="http://schemas.microsoft.com/office/drawing/2014/main" id="{B15159F2-944D-486C-9647-609B71E7A6E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66886" y="5158846"/>
            <a:ext cx="255498" cy="1145365"/>
          </a:xfrm>
        </p:spPr>
        <p:txBody>
          <a:bodyPr vert="wordArtVert" anchor="ctr">
            <a:normAutofit/>
          </a:bodyPr>
          <a:lstStyle>
            <a:lvl1pPr algn="ctr">
              <a:defRPr sz="9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4" name="Table Placeholder 73">
            <a:extLst>
              <a:ext uri="{FF2B5EF4-FFF2-40B4-BE49-F238E27FC236}">
                <a16:creationId xmlns:a16="http://schemas.microsoft.com/office/drawing/2014/main" id="{6DFEB914-0055-42F2-B17B-B4656DBE0815}"/>
              </a:ext>
            </a:extLst>
          </p:cNvPr>
          <p:cNvSpPr>
            <a:spLocks noGrp="1"/>
          </p:cNvSpPr>
          <p:nvPr>
            <p:ph type="tbl" sz="quarter" idx="51"/>
          </p:nvPr>
        </p:nvSpPr>
        <p:spPr>
          <a:xfrm>
            <a:off x="1485900" y="1415599"/>
            <a:ext cx="593515" cy="4932502"/>
          </a:xfrm>
        </p:spPr>
        <p:txBody>
          <a:bodyPr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1159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1BC6E2-5FE9-4B3A-A15B-F74A5F0A38A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839ED61-BF2A-4EC3-BB7E-8C20F8EBF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266758"/>
            <a:ext cx="10711261" cy="36933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782374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2" pos="7536">
          <p15:clr>
            <a:srgbClr val="FBAE40"/>
          </p15:clr>
        </p15:guide>
        <p15:guide id="3" orient="horz" pos="888">
          <p15:clr>
            <a:srgbClr val="FBAE40"/>
          </p15:clr>
        </p15:guide>
        <p15:guide id="4" orient="horz" pos="403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8D8F8BF-0F69-4654-B75F-86BDFDCDD7A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BE4B46C-A289-44D2-AC2C-F8C42ED84D1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B9EA0C4-4120-4D2E-B08E-82A9EA6E6F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266758"/>
            <a:ext cx="10711261" cy="36933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7549385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1" name="think-cell Slide" r:id="rId98" imgW="360" imgH="360" progId="TCLayout.ActiveDocument.1">
                  <p:embed/>
                </p:oleObj>
              </mc:Choice>
              <mc:Fallback>
                <p:oleObj name="think-cell Slide" r:id="rId98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2178050"/>
            <a:ext cx="11730037" cy="173831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9B595E6-7410-469D-BEA3-70B6D8798B58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5940425"/>
            <a:ext cx="11730037" cy="50958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396FC97-BC77-46A0-BDE0-D20E71B6BC2A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gray">
          <a:xfrm>
            <a:off x="735013" y="846138"/>
            <a:ext cx="957263" cy="16986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1C13003-BBC9-44D6-9EE8-FF696237E3AC}" type="datetime'''''''''''''''J''''''''''''''a''''''n''''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5420456-90A8-40CC-B8BF-24091CADFF81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gray">
          <a:xfrm>
            <a:off x="1692275" y="846138"/>
            <a:ext cx="865188" cy="16986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DCD0180-3F8C-4149-B9AE-6C084517C963}" type="datetime'''''''''''''''''F''''''''''''e''''''''''''''b'''">
              <a:rPr kumimoji="0" lang="en-US" altLang="en-US" sz="800" b="1" i="0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1074134-9B9A-4AE0-BB7B-382CFD81431E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gray">
          <a:xfrm>
            <a:off x="2557462" y="846138"/>
            <a:ext cx="958850" cy="16986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B9DBF53-E53C-4D52-870C-33CE46A2A1F0}" type="datetime'''''''''''''''''M''''''''''a''''''''''''''''r''''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19568B8-FC11-4722-A8F9-60E0F6617DC8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gray">
          <a:xfrm>
            <a:off x="3516312" y="846138"/>
            <a:ext cx="927100" cy="16986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0EE8DE7-8A26-4E0C-8863-BFFDD1557F15}" type="datetime'''''''''A''p''''''''''''''''r''''''''''''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B346B41D-D63C-418C-8B00-76A8CAD163E4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gray">
          <a:xfrm>
            <a:off x="4443413" y="846138"/>
            <a:ext cx="957263" cy="16986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A3DA525-4F82-4E67-BC67-D7FE84BABE13}" type="datetime'''''''''''''''''M''''''''''''''''''''''''''a''''''''''y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F68D6C89-9F09-4423-9C8E-4C02A347C104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gray">
          <a:xfrm>
            <a:off x="5400674" y="846138"/>
            <a:ext cx="927100" cy="16986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481CA06-F751-4BAE-8FE0-1F32B152E57A}" type="datetime'''''''''''J''''''''''u''''''''''''''''''n''''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21022097-919B-4992-9530-A55E0A5F06C0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gray">
          <a:xfrm>
            <a:off x="6327775" y="846138"/>
            <a:ext cx="958850" cy="16986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D70D978-69A9-4592-92F1-D931A182AB9F}" type="datetime'''J''''''''''''''''u''''''''l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938FFDD9-B2F3-4A20-BF65-CE4A77860976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gray">
          <a:xfrm>
            <a:off x="7286625" y="846138"/>
            <a:ext cx="957263" cy="16986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CF3A17C-C849-4893-92B3-818F03CF8B85}" type="datetime'''A''''''''''''''''u''''''''''''''''''''''''g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8B27CEA3-6517-4334-AF85-935C6835CA82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gray">
          <a:xfrm>
            <a:off x="8243887" y="846138"/>
            <a:ext cx="927100" cy="16986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D00D94B-9F80-4AB7-9F74-44C85DDE1710}" type="datetime'''''''''''''''''''''''''''''''''''S''e''''''p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EBFE408D-73FC-40D4-8FB8-381F5EAB1510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gray">
          <a:xfrm>
            <a:off x="9170987" y="846138"/>
            <a:ext cx="958850" cy="16986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C27CF4C-5AF8-4478-B517-4C3208B779D0}" type="datetime'''O''''''''''''''''''''''''''''''''c''''''t''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EB6CA133-0CF4-43B4-B0F6-FE4B9EFFD4C4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gray">
          <a:xfrm>
            <a:off x="10129837" y="846138"/>
            <a:ext cx="927100" cy="16986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A410E14-1F1A-4F54-BE7A-E0263D41876C}" type="datetime'''''''''''''''N''''''''''''''''''''''o''''''''v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9407217E-0972-4D83-8AF5-2B8088A70EDF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gray">
          <a:xfrm>
            <a:off x="11056938" y="846138"/>
            <a:ext cx="957263" cy="16986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54826CB-AE79-4DB4-8929-D567BAAD8E69}" type="datetime'''''''D''''''''''''''''''''''''''''''''''''e''''''''''c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EEDB5A52-06CF-4788-9D3B-420033BDB78A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735014" y="1016000"/>
            <a:ext cx="61913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40BF85-8357-4A22-9822-76BD4DFA8B22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796925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C937E43-46BF-43BC-9BAC-D1E9C669A0B6}" type="datetime'0''''''''''''''''''''''''''''''''''''''''3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021F4D5-007E-4CD4-9E5D-1AF48F530225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1012825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89FFF53-FB65-4AA1-8E39-F0D01487D674}" type="datetime'''''''1''''0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5A09A90-FFEA-46CD-87DD-A2F31BA9F843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1228725" y="1016000"/>
            <a:ext cx="217488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8A301DF-466C-4E3D-82F1-233E9F8D3EE9}" type="datetime'''''''''''''''''''''''1''''''''''''''7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8DD3A0A-83C1-4A5F-AEC1-15552F2038AD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1446213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A137F8C-A1E5-4684-B869-5D788F0355E5}" type="datetime'''''''''2''''''''''''''''4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4D9D365-63EE-4A92-BFD6-B20142EA8480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1662113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0ABF2D0-7D18-4CC4-BFAC-AF21FF614D14}" type="datetime'''''''''''''''3''''''''''1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EF91B5D-6AB1-4116-8957-74B60E9EA65D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878013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520C3B4-1CF2-495B-B145-6257894E0688}" type="datetime'''''''''0''''''''''''''''''''7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C8F1E4D-1F8F-433B-B35A-F262BDA7C566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2093913" y="1016000"/>
            <a:ext cx="217488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7CA345-4285-4D8C-AEB5-02381CFB76D2}" type="datetime'''''''''''''''''''''''1''''4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0955DBA-142A-4705-B01E-2412F2F19431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2311400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CB9BFB8-BE3F-42EC-B036-B14813CF275C}" type="datetime'''''''''''2''''''''''''''''''''''''''''''''''''1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3866421-06C8-4C3C-A319-9B80E3AE6E0C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2527300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7B0D22B-7102-4A11-98F3-CC580E8D8E56}" type="datetime'''''''''''''''''''''''''''''2''8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5AE12A9-AFCF-4EA7-8DFC-5DC223CEBF80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2743200" y="1016000"/>
            <a:ext cx="217488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649BD04-9F85-49B7-A9E6-33294AB04001}" type="datetime'''''''''''''''0''''''''''''''''''''''''''''''''''''7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FC9D77C-4343-44A4-9009-3E53F97A85F7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960688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AEB641C-AFB5-4981-8E7E-5DEF3792148E}" type="datetime'''''''1''''''''''''''''''4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3D7284E-C9FE-4FF1-80BB-B589631AB415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3176588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3CCA9E8-C5A1-4094-8F26-3428692F8970}" type="datetime'''''''''''''''''''''''''''2''1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736BF4E-E648-40E1-9673-7BCA52027E66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3392488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A6B0383-0C5E-4E46-8F77-057A684CF2B1}" type="datetime'''''''''''''28''''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A6A239E-1419-41FA-900D-EE67AEA93E54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3608388" y="1016000"/>
            <a:ext cx="217488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8327341-2D47-45D3-ADBA-31BADDF2F68E}" type="datetime'''''0''''''''4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4F86F8-647B-4506-B80B-E6C9A4331D3C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3825875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EF52FFB-0A63-4B89-AF59-DC3554DEB028}" type="datetime'''''''''11''''''''''''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3D7004F-8B7B-4B29-8AB8-BC10F55C48C2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4041775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CAC094C-3AD5-4C95-83A8-B3FD26AD3B2E}" type="datetime'''''''''''''''''''''''1''''''8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8921CCA-D0B4-49F2-B72E-4C2AA22332B8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4257675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F511773-58C6-47D3-951B-75E57CB5D439}" type="datetime'''''''''''''''''2''''5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3A994DB-48C0-4459-A2C5-9402250567E0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4473575" y="1016000"/>
            <a:ext cx="217488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AEDAB7D-0E35-4D38-9593-D76442859FA9}" type="datetime'''''''''''''''''''0''''''''2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2BC3760-827F-4F4F-9DC5-5B946A745808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4691063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DACD054-AB92-45B2-B3BA-FB35D59EBE14}" type="datetime'''''''''''''''''''''''''''''''''0''''''''9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B1124C8-2DA9-4336-AF52-9D98EA5A5ED5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906963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E8B5BCE-108D-47AC-9781-B8F21AF14D77}" type="datetime'1''''''''''''''''''''''''''''''''6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54072AB-5BCC-4B0A-8DDC-D9C7BEFE46AF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5122863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DCE6B35-FD90-47A1-9C72-FBC3BE1CED9D}" type="datetime'''''''''''''''''''''''2''3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C9D55E4-0D9A-46F3-B2D2-1EB2578A33CF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5338763" y="1016000"/>
            <a:ext cx="217488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EFAE509-8960-44CF-B691-8D24168FD222}" type="datetime'''''''''''''''''''''''''3''''''0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9847A77-19AD-431F-A2E8-14E25E3A5BBA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5556250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D375DCF-7335-4092-A48E-589A3BAB762D}" type="datetime'''''''''''0''''''''''''''''''''6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210A08F-5374-4CA0-A46E-80E6E414AE07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5772150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6973D2D-561E-4303-84D3-CF7A12FF5D8B}" type="datetime'''''1''3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63749B2-3428-4F4C-A092-B37EFA809CC1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988050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D59C1FA-D869-48C8-8C83-0133641E1EA8}" type="datetime'''''''''''''''''''''2''''''''''''''''''''0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4DF0389-C5E5-4E91-A5B9-71F1259A4E6C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6203950" y="1016000"/>
            <a:ext cx="217488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12BCEB5-822E-4010-ADA1-8D43DAC22FA9}" type="datetime'''''''''''2''''''''''''''''''''''''''''''''''''''''''''''7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B1D235C-6832-40BF-B99C-6D681289A233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6421438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89007C1-74DC-47C5-910C-87685D055793}" type="datetime'''''''''''0''''''''''''''''''''4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4F1D29F-901B-489F-9F82-546BE1DF9FEF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6637338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326886-934A-4194-AD25-12F9C0104A14}" type="datetime'''''''''''1''''''''''''''''''''''''1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2D27E46-D7D2-4F80-AFE4-C6B053F12FE5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6853238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6F1A8A-B4B9-4073-BCAA-A99871451DD1}" type="datetime'''''''1''''''''''''8''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4D61886B-6979-4CB0-AD98-04B705154AA7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7069138" y="1016000"/>
            <a:ext cx="217488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9B5ED42-76D4-4F05-A812-C246AE073390}" type="datetime'''''''2''''5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B1440AD-E76C-451A-8ECF-A3FEEF159094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7286625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7A1737-351F-425F-93A0-02668152598B}" type="datetime'''''''''''''''''''''''''''''0''''''1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77E81C4-C3D6-4FF3-9F35-9DB029CB8F0B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7502525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5D6275-9852-479C-A6A2-3E87DA6EA12C}" type="datetime'''''''''''''''''''0''''''''8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7B908E5-F6DF-4C67-8917-2C7ACC944E81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7718425" y="1016000"/>
            <a:ext cx="217488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C71F315-4F46-4A9C-98C4-3915878B0A5E}" type="datetime'''''15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ADABC51-BC1E-43EA-AEC0-7D11281FBDE0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935913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871F20-DF82-4636-831C-AD230763F6E5}" type="datetime'''''''''''''''''22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FD04432-6E42-4FEB-ACF4-F3336E83A2DD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8151813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93E7EAB-11C9-47AA-8F53-F4339BD7AE64}" type="datetime'''''''''2''''''''''''''''''9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908F446-7F29-490F-8545-2C5ECF3CF6A4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8367713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4126299-6257-4554-843E-48F851838D61}" type="datetime'''''0''''''''5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394E4E2-57C0-4D16-A403-AA4E711104B7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8583613" y="1016000"/>
            <a:ext cx="217488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E8549C2-BF6A-4FF6-A3E8-22AE9F6D6DF5}" type="datetime'''''''''''''''''''''''''''''''1''''''''''''''''''''''''''''2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EA85EAF-69AE-4938-8EF0-5ABABEAA3B62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8801100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9FC7326-2AF8-4C2C-8811-F14C5D89844C}" type="datetime'''''''''''''''''''1''''9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4F2E1BC-2DA4-41F5-B673-A5E183D5C4A1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9017000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60E9EE0-AD90-4B03-8984-64F49DBE5753}" type="datetime'''''''2''''''''''''''''''''''6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D0F6053-7197-4003-A64F-7595CD4744B4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9232900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E20E33-6007-457F-945F-F8338C13F7CE}" type="datetime'''0''''''''''3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FBF83CD9-0761-438E-91FA-FE8F70F8EFD7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9448800" y="1016000"/>
            <a:ext cx="217488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34B8236-8157-4398-A7F6-EBB71091228A}" type="datetime'1''''''''''''''''''''''''''0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F64D294-CB01-49B3-A8D3-91D1FD9599B1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9666288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E1ED04C-3CA0-49FB-959E-F4D001C7F338}" type="datetime'''''1''''''''''''''''''''7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4B0F1C09-68C5-463E-9440-35932BBD67A7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9882188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2BA709C-7231-4EFB-B430-479F4A804C66}" type="datetime'''''''''''''''''''''''''''''''''2''''''''''4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F1680E2-BE14-41B6-8132-FF8D8B85FAE9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10098088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632459C-EF04-4FE2-A423-4563C45B49C4}" type="datetime'''''''''''''''''''''3''''1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41112A8-48F9-40A9-8447-A0048B7802A1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10313988" y="1016000"/>
            <a:ext cx="217488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F55BD91-E39C-49DA-A31B-D7DBA434D33D}" type="datetime'''''''''''''''''''''0''''''''''''7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4161DE0-9451-4D23-8DC0-8E1F5595A8A2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10531475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CCEE4BE-0D7C-4E91-A2E9-A974CE9CEA25}" type="datetime'''''''''''''14''''''''''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9965831-83FF-4785-8A40-0F163FCCC871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10747375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FFC4A36-3EC2-43E3-B2FB-A9051AC1D484}" type="datetime'2''''''''''1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598CF17-FF90-44C2-9F0E-5787DBF203E0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963275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C8E6888-23C1-482A-90B7-162E0A7BEF78}" type="datetime'''''''2''''''''''''''''''''''''''''8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6BFEDDD-2EA8-47CF-A1A2-4E62A13334B7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1179175" y="1016000"/>
            <a:ext cx="217488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C318539-808B-4707-B949-C7D00C1429AC}" type="datetime'''''''''''0''''''5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56E9A06-8D37-4EA4-929C-8702F65AC9CF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1396663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E5522A0-7D61-4A91-B2CE-37B1498C79E8}" type="datetime'''''''''''''''''''1''''''''''''2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A71DA790-03ED-474D-B7AC-1C2DF384A624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1612563" y="1016000"/>
            <a:ext cx="215900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1B0980-317E-4363-8E8B-3096E3936537}" type="datetime'''''''''''''''''''''1''''''''''9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63D1CB0-4344-4CCE-A71F-4D6366806444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1828463" y="1016000"/>
            <a:ext cx="185738" cy="1397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D4B6546-5D51-4B42-BBDC-8C48FACED03D}" type="datetime'''''''2''''''''''''6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AEEFB94F-442F-405C-9CCD-49FA6F31F850}"/>
              </a:ext>
            </a:extLst>
          </p:cNvPr>
          <p:cNvCxnSpPr/>
          <p:nvPr userDrawn="1">
            <p:custDataLst>
              <p:tags r:id="rId71"/>
            </p:custDataLst>
          </p:nvPr>
        </p:nvCxnSpPr>
        <p:spPr bwMode="auto">
          <a:xfrm>
            <a:off x="11056938" y="1155701"/>
            <a:ext cx="0" cy="5294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72"/>
            </p:custDataLst>
          </p:nvPr>
        </p:nvCxnSpPr>
        <p:spPr bwMode="auto">
          <a:xfrm>
            <a:off x="1692275" y="1155701"/>
            <a:ext cx="0" cy="5294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73"/>
            </p:custDataLst>
          </p:nvPr>
        </p:nvCxnSpPr>
        <p:spPr bwMode="auto">
          <a:xfrm>
            <a:off x="2557463" y="1155701"/>
            <a:ext cx="0" cy="5294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74"/>
            </p:custDataLst>
          </p:nvPr>
        </p:nvCxnSpPr>
        <p:spPr bwMode="auto">
          <a:xfrm>
            <a:off x="3516313" y="1155701"/>
            <a:ext cx="0" cy="5294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62E4FCB-643F-4757-B84D-551AECA901C3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4443413" y="1155701"/>
            <a:ext cx="0" cy="5294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7A3DA983-D033-4649-BC02-ECE3BA83E236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5400675" y="1155701"/>
            <a:ext cx="0" cy="5294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DF5E5695-9F3F-4F82-8D30-52EBF856E1A1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6327775" y="1155701"/>
            <a:ext cx="0" cy="5294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5144A81D-1ABA-4C94-A894-C7F2F32151C2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7286625" y="1155701"/>
            <a:ext cx="0" cy="5294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18D39BA3-E59C-4359-8A97-380799F12E63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8243888" y="1155701"/>
            <a:ext cx="0" cy="5294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41D08237-0ADF-4237-8291-CF0FEB144C00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9170988" y="1155701"/>
            <a:ext cx="0" cy="5294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3DC3BAF3-C3C3-45D1-A0CB-5CB81CA78DB2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10129838" y="1155701"/>
            <a:ext cx="0" cy="5294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735013" y="1155701"/>
            <a:ext cx="0" cy="5294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12014200" y="1155701"/>
            <a:ext cx="0" cy="5294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284163" y="1155701"/>
            <a:ext cx="0" cy="5294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15020D4A-C820-468D-AC28-655067B3B54F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284163" y="391636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284163" y="594042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284163" y="217805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1155700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BEA9F03F-514D-47CF-A801-701AA479CC4C}"/>
              </a:ext>
            </a:extLst>
          </p:cNvPr>
          <p:cNvSpPr/>
          <p:nvPr userDrawn="1">
            <p:custDataLst>
              <p:tags r:id="rId90"/>
            </p:custDataLst>
          </p:nvPr>
        </p:nvSpPr>
        <p:spPr bwMode="auto">
          <a:xfrm>
            <a:off x="325438" y="3956050"/>
            <a:ext cx="244475" cy="19462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0" i="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w 3                                                          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sz="800" b="0" i="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                </a:t>
            </a:r>
            <a:endParaRPr kumimoji="0" lang="en-US" sz="800" b="0" i="0" u="none" cap="none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0AC7D9D-0BCF-40A1-943C-B3C03907DDB6}"/>
              </a:ext>
            </a:extLst>
          </p:cNvPr>
          <p:cNvSpPr/>
          <p:nvPr userDrawn="1">
            <p:custDataLst>
              <p:tags r:id="rId91"/>
            </p:custDataLst>
          </p:nvPr>
        </p:nvSpPr>
        <p:spPr bwMode="auto">
          <a:xfrm>
            <a:off x="325438" y="1193800"/>
            <a:ext cx="122238" cy="9461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sz="800" b="0" i="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w 1                       </a:t>
            </a:r>
            <a:endParaRPr kumimoji="0" lang="en-US" sz="800" b="0" i="0" u="none" cap="none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41F9654D-2BBE-48C7-A406-F1618A5D149E}"/>
              </a:ext>
            </a:extLst>
          </p:cNvPr>
          <p:cNvSpPr/>
          <p:nvPr userDrawn="1">
            <p:custDataLst>
              <p:tags r:id="rId92"/>
            </p:custDataLst>
          </p:nvPr>
        </p:nvSpPr>
        <p:spPr bwMode="auto">
          <a:xfrm>
            <a:off x="325438" y="5980113"/>
            <a:ext cx="122238" cy="431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80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w 4     </a:t>
            </a:r>
            <a:endParaRPr kumimoji="0" lang="en-US" sz="800" b="0" i="0" u="none" cap="none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93"/>
            </p:custDataLst>
          </p:nvPr>
        </p:nvSpPr>
        <p:spPr bwMode="auto">
          <a:xfrm>
            <a:off x="325438" y="1009650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1CBA368-16EC-4ED4-AB96-8313C246EEB2}"/>
              </a:ext>
            </a:extLst>
          </p:cNvPr>
          <p:cNvSpPr/>
          <p:nvPr userDrawn="1">
            <p:custDataLst>
              <p:tags r:id="rId94"/>
            </p:custDataLst>
          </p:nvPr>
        </p:nvSpPr>
        <p:spPr bwMode="auto">
          <a:xfrm>
            <a:off x="325438" y="2217738"/>
            <a:ext cx="244475" cy="1660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0" i="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w 2                                                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sz="800" b="0" i="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              </a:t>
            </a:r>
            <a:endParaRPr kumimoji="0" lang="en-US" sz="800" b="0" i="0" u="none" cap="none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95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96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13" name="Rectangle 612">
            <a:extLst>
              <a:ext uri="{FF2B5EF4-FFF2-40B4-BE49-F238E27FC236}">
                <a16:creationId xmlns:a16="http://schemas.microsoft.com/office/drawing/2014/main" id="{95171F1E-5568-4F9D-B069-1A12BE428443}"/>
              </a:ext>
            </a:extLst>
          </p:cNvPr>
          <p:cNvSpPr/>
          <p:nvPr userDrawn="1"/>
        </p:nvSpPr>
        <p:spPr>
          <a:xfrm>
            <a:off x="4399438" y="619298"/>
            <a:ext cx="1048913" cy="3231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/>
            <a:r>
              <a:rPr lang="en-US" sz="5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AMADAN APRIL 12 - MAY 10 </a:t>
            </a:r>
            <a:br>
              <a:rPr lang="en-US" sz="5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</a:br>
            <a:r>
              <a:rPr lang="en-US" sz="5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ID  MAY 11-15</a:t>
            </a:r>
            <a:r>
              <a:rPr lang="en-US" sz="500" dirty="0"/>
              <a:t> </a:t>
            </a:r>
          </a:p>
        </p:txBody>
      </p:sp>
      <p:sp>
        <p:nvSpPr>
          <p:cNvPr id="614" name="Rectangle 613">
            <a:extLst>
              <a:ext uri="{FF2B5EF4-FFF2-40B4-BE49-F238E27FC236}">
                <a16:creationId xmlns:a16="http://schemas.microsoft.com/office/drawing/2014/main" id="{A9688E22-3090-4750-A771-4DF1FCA685BB}"/>
              </a:ext>
            </a:extLst>
          </p:cNvPr>
          <p:cNvSpPr/>
          <p:nvPr userDrawn="1"/>
        </p:nvSpPr>
        <p:spPr>
          <a:xfrm>
            <a:off x="6327773" y="651276"/>
            <a:ext cx="958851" cy="1692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5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HAJJ  JUL 19 - 22 </a:t>
            </a:r>
          </a:p>
        </p:txBody>
      </p:sp>
      <p:sp>
        <p:nvSpPr>
          <p:cNvPr id="615" name="Rectangle 614">
            <a:extLst>
              <a:ext uri="{FF2B5EF4-FFF2-40B4-BE49-F238E27FC236}">
                <a16:creationId xmlns:a16="http://schemas.microsoft.com/office/drawing/2014/main" id="{70A270FF-C6AC-4099-BC17-B570059F655A}"/>
              </a:ext>
            </a:extLst>
          </p:cNvPr>
          <p:cNvSpPr/>
          <p:nvPr userDrawn="1"/>
        </p:nvSpPr>
        <p:spPr>
          <a:xfrm>
            <a:off x="7285034" y="618232"/>
            <a:ext cx="95885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5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SLAMIC NEW YEAR</a:t>
            </a:r>
          </a:p>
          <a:p>
            <a:pPr lvl="0" algn="ctr"/>
            <a:r>
              <a:rPr lang="en-US" sz="5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 AUG 10 </a:t>
            </a:r>
          </a:p>
        </p:txBody>
      </p:sp>
      <p:sp>
        <p:nvSpPr>
          <p:cNvPr id="616" name="Rectangle 615">
            <a:extLst>
              <a:ext uri="{FF2B5EF4-FFF2-40B4-BE49-F238E27FC236}">
                <a16:creationId xmlns:a16="http://schemas.microsoft.com/office/drawing/2014/main" id="{44321DC0-3DE3-4BF1-90B8-75B12EF54E79}"/>
              </a:ext>
            </a:extLst>
          </p:cNvPr>
          <p:cNvSpPr/>
          <p:nvPr userDrawn="1"/>
        </p:nvSpPr>
        <p:spPr>
          <a:xfrm>
            <a:off x="10129837" y="640051"/>
            <a:ext cx="927100" cy="1692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5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ARTYRS DAY NOV 30 </a:t>
            </a:r>
          </a:p>
        </p:txBody>
      </p:sp>
    </p:spTree>
    <p:extLst>
      <p:ext uri="{BB962C8B-B14F-4D97-AF65-F5344CB8AC3E}">
        <p14:creationId xmlns:p14="http://schemas.microsoft.com/office/powerpoint/2010/main" val="3894186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/>
          <a:srcRect r="72206"/>
          <a:stretch/>
        </p:blipFill>
        <p:spPr>
          <a:xfrm>
            <a:off x="5437233" y="2951505"/>
            <a:ext cx="1317534" cy="954991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B69876-9785-4BC5-A491-B850EB1E09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6" name="Rectangle 1027">
            <a:extLst>
              <a:ext uri="{FF2B5EF4-FFF2-40B4-BE49-F238E27FC236}">
                <a16:creationId xmlns:a16="http://schemas.microsoft.com/office/drawing/2014/main" id="{1F51A78B-63EC-4994-84DA-7D57D2FCF7F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274918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0327007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966483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pt-BR" sz="1020" b="0" i="0" baseline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628253" y="1914726"/>
            <a:ext cx="4740388" cy="954991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628254" y="3449113"/>
            <a:ext cx="8840220" cy="3751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8" name="Rectangle 1027"/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86B6AC-D72B-46FF-9365-159E21B307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7630" y="3840458"/>
            <a:ext cx="8840220" cy="215444"/>
          </a:xfrm>
        </p:spPr>
        <p:txBody>
          <a:bodyPr/>
          <a:lstStyle>
            <a:lvl3pPr marL="111125" indent="0">
              <a:buNone/>
              <a:defRPr sz="1400">
                <a:solidFill>
                  <a:schemeClr val="accent4"/>
                </a:solidFill>
              </a:defRPr>
            </a:lvl3pPr>
          </a:lstStyle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08542818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1BC6E2-5FE9-4B3A-A15B-F74A5F0A38A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839ED61-BF2A-4EC3-BB7E-8C20F8EBF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266758"/>
            <a:ext cx="10711261" cy="36933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4039994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2" pos="7536">
          <p15:clr>
            <a:srgbClr val="FBAE40"/>
          </p15:clr>
        </p15:guide>
        <p15:guide id="3" orient="horz" pos="888">
          <p15:clr>
            <a:srgbClr val="FBAE40"/>
          </p15:clr>
        </p15:guide>
        <p15:guide id="4" orient="horz" pos="4032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riginal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7" name="think-cell Slide" r:id="rId107" imgW="360" imgH="360" progId="TCLayout.ActiveDocument.1">
                  <p:embed/>
                </p:oleObj>
              </mc:Choice>
              <mc:Fallback>
                <p:oleObj name="think-cell Slide" r:id="rId107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107A95-FE9F-4685-8307-E52B92FCF78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3498850"/>
            <a:ext cx="11730037" cy="72707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4953001"/>
            <a:ext cx="11730037" cy="75406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284163" y="2017713"/>
            <a:ext cx="11730037" cy="74136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D10BE2F-D14A-4B3C-B22A-7A7679B115B0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735013" y="846139"/>
            <a:ext cx="6613525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B7F03E4-6AE1-4788-83E0-01F0511EE9E1}" type="datetime'''''''''''''''''''''2''''''''''0''2''1'''''''''''''''">
              <a:rPr kumimoji="0" lang="en-US" altLang="en-US" sz="800" b="1" i="0" u="none" kern="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36952327-DB0B-40A4-A593-743F2250E5E6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7348538" y="846138"/>
            <a:ext cx="466566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3A72B9D-1132-4B68-9E7A-FE48791CA4DF}" type="datetime'''''''''''2''''0''''''''''2''''''''''''''''''''''''''2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F68D6C89-9F09-4423-9C8E-4C02A347C104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735013" y="996950"/>
            <a:ext cx="9271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481CA06-F751-4BAE-8FE0-1F32B152E57A}" type="datetime'''''''''''J''''''''''u''''''''''''''''''n''''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21022097-919B-4992-9530-A55E0A5F06C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1662113" y="996950"/>
            <a:ext cx="957263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D70D978-69A9-4592-92F1-D931A182AB9F}" type="datetime'''J''''''''''''''''u''''''''l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938FFDD9-B2F3-4A20-BF65-CE4A77860976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2619374" y="996950"/>
            <a:ext cx="95885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CF3A17C-C849-4893-92B3-818F03CF8B85}" type="datetime'''A''''''''''''''''u''''''''''''''''''''''''g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8B27CEA3-6517-4334-AF85-935C6835CA82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3578225" y="996950"/>
            <a:ext cx="9271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D00D94B-9F80-4AB7-9F74-44C85DDE1710}" type="datetime'''''''''''''''''''''''''''''''''''S''e''''''p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EBFE408D-73FC-40D4-8FB8-381F5EAB151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4505325" y="996950"/>
            <a:ext cx="957263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C27CF4C-5AF8-4478-B517-4C3208B779D0}" type="datetime'''O''''''''''''''''''''''''''''''''c''''''t''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EB6CA133-0CF4-43B4-B0F6-FE4B9EFFD4C4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5462588" y="996950"/>
            <a:ext cx="9271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A410E14-1F1A-4F54-BE7A-E0263D41876C}" type="datetime'''''''''''''''N''''''''''''''''''''''o''''''''v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9407217E-0972-4D83-8AF5-2B8088A70EDF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6389687" y="996950"/>
            <a:ext cx="95885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54826CB-AE79-4DB4-8929-D567BAAD8E69}" type="datetime'''''''D''''''''''''''''''''''''''''''''''''e''''''''''c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45EEC30D-4EE3-4070-9914-84CF0AA23A5C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7348538" y="996950"/>
            <a:ext cx="957263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BF1DEBD-E61A-4121-8E56-59E22415F8A1}" type="datetime'''''''''''''''''''''''''''J''''''''''''a''''n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918F0C46-785F-4CC1-9092-B8A31EB29B82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8305800" y="996950"/>
            <a:ext cx="865188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ED79295-0095-4C32-9317-3ED431FFBA87}" type="datetime'''''''''''F''''''''e''''''''''''''''''''b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E63250DA-260C-48B3-AFA1-1350D5A0B88E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9170987" y="996950"/>
            <a:ext cx="95885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D19EA4A-EF9D-4B16-9012-F4D6AD3676D3}" type="datetime'''''''''''''''''M''a''''''''r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3B41A007-C9E8-4C8E-B3DE-C410AFC8EA46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10129838" y="996950"/>
            <a:ext cx="9271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CE28AAD-60C6-423E-AB76-A2D925CBCB1A}" type="datetime'''''''''''''''''''''''''''''''''''''A''''p''''r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93491F0F-C203-4929-9609-7A756393C67E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11056938" y="996950"/>
            <a:ext cx="957263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6971084-DD38-46EF-8C9D-FD0F82BA0FE6}" type="datetime'''Ma''y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C9D55E4-0D9A-46F3-B2D2-1EB2578A33CF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735013" y="1147764"/>
            <a:ext cx="1539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EFAE509-8960-44CF-B691-8D24168FD222}" type="datetime'''''''''''''''''''''''''3''''''0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9847A77-19AD-431F-A2E8-14E25E3A5BBA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889000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D375DCF-7335-4092-A48E-589A3BAB762D}" type="datetime'''''''''''0''''''''''''''''''''6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210A08F-5374-4CA0-A46E-80E6E414AE07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1106488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6973D2D-561E-4303-84D3-CF7A12FF5D8B}" type="datetime'''''1''3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63749B2-3428-4F4C-A092-B37EFA809CC1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322388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D59C1FA-D869-48C8-8C83-0133641E1EA8}" type="datetime'''''''''''''''''''''2''''''''''''''''''''0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4DF0389-C5E5-4E91-A5B9-71F1259A4E6C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538288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12BCEB5-822E-4010-ADA1-8D43DAC22FA9}" type="datetime'''''''''''2''''''''''''''''''''''''''''''''''''''''''''''7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B1D235C-6832-40BF-B99C-6D681289A233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1754188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89007C1-74DC-47C5-910C-87685D055793}" type="datetime'''''''''''0''''''''''''''''''''4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4F1D29F-901B-489F-9F82-546BE1DF9FEF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1971675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326886-934A-4194-AD25-12F9C0104A14}" type="datetime'''''''''''1''''''''''''''''''''''''1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2D27E46-D7D2-4F80-AFE4-C6B053F12FE5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2187575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6F1A8A-B4B9-4073-BCAA-A99871451DD1}" type="datetime'''''''1''''''''''''8''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4D61886B-6979-4CB0-AD98-04B705154AA7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403475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9B5ED42-76D4-4F05-A812-C246AE073390}" type="datetime'''''''2''''5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B1440AD-E76C-451A-8ECF-A3FEEF159094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619375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7A1737-351F-425F-93A0-02668152598B}" type="datetime'''''''''''''''''''''''''''''0''''''1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77E81C4-C3D6-4FF3-9F35-9DB029CB8F0B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2836863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5D6275-9852-479C-A6A2-3E87DA6EA12C}" type="datetime'''''''''''''''''''0''''''''8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7B908E5-F6DF-4C67-8917-2C7ACC944E81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3052763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C71F315-4F46-4A9C-98C4-3915878B0A5E}" type="datetime'''''15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ADABC51-BC1E-43EA-AEC0-7D11281FBDE0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3268663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871F20-DF82-4636-831C-AD230763F6E5}" type="datetime'''''''''''''''''22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FD04432-6E42-4FEB-ACF4-F3336E83A2DD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484563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93E7EAB-11C9-47AA-8F53-F4339BD7AE64}" type="datetime'''''''''2''''''''''''''''''9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908F446-7F29-490F-8545-2C5ECF3CF6A4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702050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4126299-6257-4554-843E-48F851838D61}" type="datetime'''''0''''''''5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394E4E2-57C0-4D16-A403-AA4E711104B7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3917950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E8549C2-BF6A-4FF6-A3E8-22AE9F6D6DF5}" type="datetime'''''''''''''''''''''''''''''''1''''''''''''''''''''''''''''2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EA85EAF-69AE-4938-8EF0-5ABABEAA3B62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4133850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9FC7326-2AF8-4C2C-8811-F14C5D89844C}" type="datetime'''''''''''''''''''1''''9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4F2E1BC-2DA4-41F5-B673-A5E183D5C4A1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349750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60E9EE0-AD90-4B03-8984-64F49DBE5753}" type="datetime'''''''2''''''''''''''''''''''6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D0F6053-7197-4003-A64F-7595CD4744B4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567238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E20E33-6007-457F-945F-F8338C13F7CE}" type="datetime'''0''''''''''3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FBF83CD9-0761-438E-91FA-FE8F70F8EFD7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4783138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34B8236-8157-4398-A7F6-EBB71091228A}" type="datetime'1''''''''''''''''''''''''''0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F64D294-CB01-49B3-A8D3-91D1FD9599B1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4999038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E1ED04C-3CA0-49FB-959E-F4D001C7F338}" type="datetime'''''1''''''''''''''''''''7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4B0F1C09-68C5-463E-9440-35932BBD67A7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5216525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2BA709C-7231-4EFB-B430-479F4A804C66}" type="datetime'''''''''''''''''''''''''''''''''2''''''''''4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F1680E2-BE14-41B6-8132-FF8D8B85FAE9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432425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632459C-EF04-4FE2-A423-4563C45B49C4}" type="datetime'''''''''''''''''''''3''''1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41112A8-48F9-40A9-8447-A0048B7802A1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648325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F55BD91-E39C-49DA-A31B-D7DBA434D33D}" type="datetime'''''''''''''''''''''0''''''''''''7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4161DE0-9451-4D23-8DC0-8E1F5595A8A2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5864225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CCEE4BE-0D7C-4E91-A2E9-A974CE9CEA25}" type="datetime'''''''''''''14''''''''''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9965831-83FF-4785-8A40-0F163FCCC871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6081713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FFC4A36-3EC2-43E3-B2FB-A9051AC1D484}" type="datetime'2''''''''''1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598CF17-FF90-44C2-9F0E-5787DBF203E0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6297613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C8E6888-23C1-482A-90B7-162E0A7BEF78}" type="datetime'''''''2''''''''''''''''''''''''''''8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6BFEDDD-2EA8-47CF-A1A2-4E62A13334B7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513513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C318539-808B-4707-B949-C7D00C1429AC}" type="datetime'''''''''''0''''''5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56E9A06-8D37-4EA4-929C-8702F65AC9CF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6729413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E5522A0-7D61-4A91-B2CE-37B1498C79E8}" type="datetime'''''''''''''''''''1''''''''''''2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A71DA790-03ED-474D-B7AC-1C2DF384A624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6946900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1B0980-317E-4363-8E8B-3096E3936537}" type="datetime'''''''''''''''''''''1''''''''''9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63D1CB0-4344-4CCE-A71F-4D6366806444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7162800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D4B6546-5D51-4B42-BBDC-8C48FACED03D}" type="datetime'''''''2''''''''''''6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0D1516F-E949-41B6-A1E3-BDEECB08BC22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37870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8041352-A566-4638-BC70-623CA19E9B73}" type="datetime'''''''02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C33B0C4A-C63D-47A9-BF9B-03DFA8BCB0DD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594600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38EF48D-5932-4C6C-B00A-7EDA00EAD697}" type="datetime'''''''''''0''''''''''9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F5EECB0F-9C71-4EF5-A67C-913E20A7057D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781208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866BC01-998A-4D14-84D3-D2DAFAB1A030}" type="datetime'''''''''''1''''''''''''6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8747936D-4029-47BB-8DB4-A00E8691D5CE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802798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C7D1558-6CF0-4D2B-82BA-25D1944110BA}" type="datetime'''''2''''''''''''''3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A2BA2673-1DA7-4E84-AC2D-17535DA927BB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824388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D8383B1-57B8-496A-8A30-B030DAF2994F}" type="datetime'''''''''3''''''''''''''''''''''''''''0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6FB042A3-256D-4352-B8AC-9F49BC1AEB06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459788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F350FD7-8A00-4464-96C0-B08DFB43F7DA}" type="datetime'''''''''''0''''''''''''''''''''''''''6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D2B70529-DD13-499B-8CE4-6E4AB9B8A430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67727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F4BAE9B-7F4F-4C49-BD3F-F81EC9938FB6}" type="datetime'''13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DF9D2D1C-6B38-44DA-BAEB-10691D657BBC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889317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600B0A4-93EF-40F6-84DA-E570A5C1C4DE}" type="datetime'2''''''''''''''''0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146E003B-C387-4457-AB34-637FAB558084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910907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16F7A3D-FC16-4C48-BCD7-6FB1BF19C6CA}" type="datetime'''''''''''''''''''''''''''''''2''''''''''''7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761A4CF6-66CA-42DD-9454-6FA6DFDEE7F4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9324975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FDF2276-4D48-4803-BD04-5CDDA75F9698}" type="datetime'''''''''''''''''''''0''6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CD08772D-2DE6-4EDA-87CF-1FAAD47F1BFD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542463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F23B96E-97DE-40CC-956E-6E296EE3258C}" type="datetime'''''''''''''''''''''''''''''''''1''''''''''''''''3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FEB0B0C9-01C9-4279-ABE1-7B288116B268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9758363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A937674-F5F4-490D-A4FC-A65665E800DB}" type="datetime'''''''''''''''''2''''''''''''''''''''''''''''''''0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2E51723E-EBA0-4FC5-98DB-07460B25805A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9974263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0D6C790-19A9-4753-A8D4-BB811A6D8044}" type="datetime'''''2''''''''''''''''''''''''7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AFD426AC-9B48-4916-AF4F-CE0D84203250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1019175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BA07626-C4AA-47C4-AAAB-D98A9EE432C0}" type="datetime'''''''''''''''''0''''3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E354819F-861D-4BDF-911A-8093EF46E80C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40765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655EFDA-A6FF-42C0-ABF0-FE2156B26FA9}" type="datetime'''''''''''1''''''''''''''''''''''''''''''''''''0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3BEFD9B2-FD21-4BC8-8673-99E608876BA2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62355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695A75F-136C-4C52-8982-E48246956D7A}" type="datetime'''1''''''''''''''''''''''''''''''7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6DC4A32D-3917-44AC-B17E-83A410A0A12F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0839450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EF545DC-B251-4921-8BCE-00584139A52A}" type="datetime'2''''4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87DA03A5-B285-46A3-86C7-1C0629643F29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105693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6839718-8B0F-4EDF-B07E-99C36039D735}" type="datetime'''''''''''''''''''''''''''''0''''''''''1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A072C119-C88A-4750-A922-A8575E1B15C5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127283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50B4510-F524-4726-AE27-B71611BB2F93}" type="datetime'''''''''''''''0''''''''''''''8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C1B681FF-7332-4283-B998-AC84323C36BC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48873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6D8633F-7C9F-4B0A-A55C-E6FB6DD1B00E}" type="datetime'''''''''''''''''''''''''''''1''''5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4B888F82-BFF9-4D31-8DB3-668288FE8A74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11704638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85CAEC1-3B8D-4100-96E4-00D06B211C95}" type="datetime'''''''2''''''''''2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5C5C21D6-81CE-4664-8D08-81509F4F192A}"/>
              </a:ext>
            </a:extLst>
          </p:cNvPr>
          <p:cNvSpPr/>
          <p:nvPr userDrawn="1">
            <p:custDataLst>
              <p:tags r:id="rId73"/>
            </p:custDataLst>
          </p:nvPr>
        </p:nvSpPr>
        <p:spPr bwMode="auto">
          <a:xfrm>
            <a:off x="11922125" y="1147763"/>
            <a:ext cx="920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0D2E9F7-3C7E-4A63-B981-54BCB83EC7C2}" type="datetime'''''''''''''2''''''''''''''''''''''''''''''''''9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DF5E5695-9F3F-4F82-8D30-52EBF856E1A1}"/>
              </a:ext>
            </a:extLst>
          </p:cNvPr>
          <p:cNvCxnSpPr/>
          <p:nvPr userDrawn="1">
            <p:custDataLst>
              <p:tags r:id="rId74"/>
            </p:custDataLst>
          </p:nvPr>
        </p:nvCxnSpPr>
        <p:spPr bwMode="auto">
          <a:xfrm>
            <a:off x="6389688" y="1258888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5144A81D-1ABA-4C94-A894-C7F2F32151C2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7348538" y="1258888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18D39BA3-E59C-4359-8A97-380799F12E63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8305800" y="1258888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41D08237-0ADF-4237-8291-CF0FEB144C00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9170988" y="1258888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3DC3BAF3-C3C3-45D1-A0CB-5CB81CA78DB2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10129838" y="1258888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AEEFB94F-442F-405C-9CCD-49FA6F31F850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11056938" y="1258888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1662113" y="1258888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12014200" y="1258888"/>
            <a:ext cx="0" cy="5191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3578225" y="1258888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735013" y="1258888"/>
            <a:ext cx="0" cy="5191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2619375" y="1258888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62E4FCB-643F-4757-B84D-551AECA901C3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4505325" y="1258888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7A3DA983-D033-4649-BC02-ECE3BA83E236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5462588" y="1258888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284163" y="1258888"/>
            <a:ext cx="0" cy="5191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284163" y="570706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15020D4A-C820-468D-AC28-655067B3B54F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275907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201771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422592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92"/>
            </p:custDataLst>
          </p:nvPr>
        </p:nvCxnSpPr>
        <p:spPr bwMode="auto">
          <a:xfrm>
            <a:off x="284163" y="495300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BE25797-5340-4A22-B539-41E82D1FD27D}"/>
              </a:ext>
            </a:extLst>
          </p:cNvPr>
          <p:cNvCxnSpPr/>
          <p:nvPr userDrawn="1">
            <p:custDataLst>
              <p:tags r:id="rId93"/>
            </p:custDataLst>
          </p:nvPr>
        </p:nvCxnSpPr>
        <p:spPr bwMode="auto">
          <a:xfrm>
            <a:off x="284163" y="349885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4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95"/>
            </p:custDataLst>
          </p:nvPr>
        </p:nvCxnSpPr>
        <p:spPr bwMode="auto">
          <a:xfrm>
            <a:off x="284163" y="1258888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BEA9F03F-514D-47CF-A801-701AA479CC4C}"/>
              </a:ext>
            </a:extLst>
          </p:cNvPr>
          <p:cNvSpPr/>
          <p:nvPr userDrawn="1">
            <p:custDataLst>
              <p:tags r:id="rId96"/>
            </p:custDataLst>
          </p:nvPr>
        </p:nvSpPr>
        <p:spPr bwMode="auto">
          <a:xfrm>
            <a:off x="325438" y="2857500"/>
            <a:ext cx="244475" cy="5429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0" i="0" u="none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nancial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sz="800" b="0" i="0" u="none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                </a:t>
            </a:r>
            <a:endParaRPr kumimoji="0" lang="en-US" sz="800" b="0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A475102B-1E8C-4643-945D-11E52A047605}"/>
              </a:ext>
            </a:extLst>
          </p:cNvPr>
          <p:cNvSpPr/>
          <p:nvPr userDrawn="1">
            <p:custDataLst>
              <p:tags r:id="rId97"/>
            </p:custDataLst>
          </p:nvPr>
        </p:nvSpPr>
        <p:spPr bwMode="auto">
          <a:xfrm>
            <a:off x="325438" y="5051425"/>
            <a:ext cx="122238" cy="55721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800" u="none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overnance</a:t>
            </a: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41F9654D-2BBE-48C7-A406-F1618A5D149E}"/>
              </a:ext>
            </a:extLst>
          </p:cNvPr>
          <p:cNvSpPr/>
          <p:nvPr userDrawn="1">
            <p:custDataLst>
              <p:tags r:id="rId98"/>
            </p:custDataLst>
          </p:nvPr>
        </p:nvSpPr>
        <p:spPr bwMode="auto">
          <a:xfrm>
            <a:off x="325438" y="5807075"/>
            <a:ext cx="244475" cy="54451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800" u="none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nefit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800" u="none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alization*</a:t>
            </a:r>
            <a:endParaRPr kumimoji="0" lang="en-US" sz="800" b="0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0AC7D9D-0BCF-40A1-943C-B3C03907DDB6}"/>
              </a:ext>
            </a:extLst>
          </p:cNvPr>
          <p:cNvSpPr/>
          <p:nvPr userDrawn="1">
            <p:custDataLst>
              <p:tags r:id="rId99"/>
            </p:custDataLst>
          </p:nvPr>
        </p:nvSpPr>
        <p:spPr bwMode="auto">
          <a:xfrm>
            <a:off x="325438" y="1357313"/>
            <a:ext cx="366713" cy="5619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0" i="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erations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0" i="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&amp;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0" i="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Processes </a:t>
            </a:r>
            <a:endParaRPr kumimoji="0" lang="en-US" sz="800" b="0" i="0" u="none" cap="none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100"/>
            </p:custDataLst>
          </p:nvPr>
        </p:nvSpPr>
        <p:spPr bwMode="auto">
          <a:xfrm>
            <a:off x="325438" y="1127125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E6DB368-A58E-4267-AF9A-BBE7A690005E}"/>
              </a:ext>
            </a:extLst>
          </p:cNvPr>
          <p:cNvSpPr/>
          <p:nvPr userDrawn="1">
            <p:custDataLst>
              <p:tags r:id="rId101"/>
            </p:custDataLst>
          </p:nvPr>
        </p:nvSpPr>
        <p:spPr bwMode="auto">
          <a:xfrm>
            <a:off x="325438" y="3598863"/>
            <a:ext cx="122238" cy="5286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0" i="0" u="none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chnology</a:t>
            </a:r>
            <a:endParaRPr kumimoji="0" lang="en-US" sz="800" b="0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1CBA368-16EC-4ED4-AB96-8313C246EEB2}"/>
              </a:ext>
            </a:extLst>
          </p:cNvPr>
          <p:cNvSpPr/>
          <p:nvPr userDrawn="1">
            <p:custDataLst>
              <p:tags r:id="rId102"/>
            </p:custDataLst>
          </p:nvPr>
        </p:nvSpPr>
        <p:spPr bwMode="auto">
          <a:xfrm>
            <a:off x="325438" y="2117725"/>
            <a:ext cx="244475" cy="5429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0" i="0" u="none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R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sz="800" b="0" i="0" u="none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                </a:t>
            </a:r>
            <a:endParaRPr kumimoji="0" lang="en-US" sz="800" b="0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72D27B-0E84-40A8-BFA6-7D892BCA190C}"/>
              </a:ext>
            </a:extLst>
          </p:cNvPr>
          <p:cNvSpPr/>
          <p:nvPr userDrawn="1">
            <p:custDataLst>
              <p:tags r:id="rId103"/>
            </p:custDataLst>
          </p:nvPr>
        </p:nvSpPr>
        <p:spPr bwMode="auto">
          <a:xfrm>
            <a:off x="325438" y="4324350"/>
            <a:ext cx="244475" cy="5302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0" i="0" u="none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Change   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0" i="0" u="none" cap="none" baseline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ngt</a:t>
            </a:r>
            <a:r>
              <a:rPr kumimoji="0" lang="en-US" altLang="en-US" sz="800" b="0" i="0" u="none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kumimoji="0" lang="en-US" sz="800" b="0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104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105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7" name="TextBox 366">
            <a:extLst>
              <a:ext uri="{FF2B5EF4-FFF2-40B4-BE49-F238E27FC236}">
                <a16:creationId xmlns:a16="http://schemas.microsoft.com/office/drawing/2014/main" id="{19C0BF61-2C2D-47D9-994B-158116644FDC}"/>
              </a:ext>
            </a:extLst>
          </p:cNvPr>
          <p:cNvSpPr txBox="1"/>
          <p:nvPr userDrawn="1"/>
        </p:nvSpPr>
        <p:spPr>
          <a:xfrm>
            <a:off x="2098978" y="6477105"/>
            <a:ext cx="165942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/>
              <a:t>*accumulated Benefit realization</a:t>
            </a: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1753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iginal POAP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1" name="think-cell Slide" r:id="rId107" imgW="360" imgH="360" progId="TCLayout.ActiveDocument.1">
                  <p:embed/>
                </p:oleObj>
              </mc:Choice>
              <mc:Fallback>
                <p:oleObj name="think-cell Slide" r:id="rId107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2017714"/>
            <a:ext cx="11730037" cy="74136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107A95-FE9F-4685-8307-E52B92FCF783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3498850"/>
            <a:ext cx="11730037" cy="72707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284163" y="4953001"/>
            <a:ext cx="11730037" cy="75406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590A545E-8318-4FCC-B934-23B5BFA9B540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735013" y="846139"/>
            <a:ext cx="6613525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3ECA137-F55C-410D-BC53-4FFDE96A734A}" type="datetime'''''2''''''''''''''0''''''''2''''''1'''''''">
              <a:rPr kumimoji="0" lang="en-US" altLang="en-US" sz="800" b="1" i="0" u="none" kern="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4C416A67-562A-4DB1-9B3A-5FB4A9491905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7348538" y="846139"/>
            <a:ext cx="466566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BBD25D0-0C34-4D1C-B880-17EA72A87598}" type="datetime'''''''2''''''''0''''''''''''2''''''''''''''''''''''2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F68D6C89-9F09-4423-9C8E-4C02A347C104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735013" y="996950"/>
            <a:ext cx="9271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481CA06-F751-4BAE-8FE0-1F32B152E57A}" type="datetime'''''''''''J''''''''''u''''''''''''''''''n''''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21022097-919B-4992-9530-A55E0A5F06C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1662114" y="996950"/>
            <a:ext cx="957263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D70D978-69A9-4592-92F1-D931A182AB9F}" type="datetime'''J''''''''''''''''u''''''''l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938FFDD9-B2F3-4A20-BF65-CE4A77860976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2619375" y="996950"/>
            <a:ext cx="95885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CF3A17C-C849-4893-92B3-818F03CF8B85}" type="datetime'''A''''''''''''''''u''''''''''''''''''''''''g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8B27CEA3-6517-4334-AF85-935C6835CA82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3578225" y="996950"/>
            <a:ext cx="9271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D00D94B-9F80-4AB7-9F74-44C85DDE1710}" type="datetime'''''''''''''''''''''''''''''''''''S''e''''''p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EBFE408D-73FC-40D4-8FB8-381F5EAB151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4505326" y="996950"/>
            <a:ext cx="957263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C27CF4C-5AF8-4478-B517-4C3208B779D0}" type="datetime'''O''''''''''''''''''''''''''''''''c''''''t''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EB6CA133-0CF4-43B4-B0F6-FE4B9EFFD4C4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5462588" y="996950"/>
            <a:ext cx="9271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A410E14-1F1A-4F54-BE7A-E0263D41876C}" type="datetime'''''''''''''''N''''''''''''''''''''''o''''''''v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9407217E-0972-4D83-8AF5-2B8088A70EDF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6389688" y="996950"/>
            <a:ext cx="95885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54826CB-AE79-4DB4-8929-D567BAAD8E69}" type="datetime'''''''D''''''''''''''''''''''''''''''''''''e''''''''''c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A32F7BD9-CFA1-4F86-A90F-B8CDC670E886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7348539" y="996950"/>
            <a:ext cx="957263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572039A-32B2-4070-A8A7-200A7A6DD5E9}" type="datetime'J''''''''''''''''''''''''''''''a''n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7A8C193A-DC80-4546-A4C9-31D6BC479D67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8305800" y="996950"/>
            <a:ext cx="865188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2139FB9-D42B-4DD9-8288-9EF7578F9684}" type="datetime'''''F''''''''''''''''''e''''''b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BAED419F-0ABC-4E24-AEF2-8B9F53B0715E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9170988" y="996950"/>
            <a:ext cx="95885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F344968-EB39-4DCB-91AC-38E5A3AB8CA0}" type="datetime'''''''M''''''''''''''a''''''''''''''''''''''r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926A35C8-9A45-4D0C-BBC7-D45778CD16AB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10129838" y="996950"/>
            <a:ext cx="9271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EB1D2A9-705C-4B70-8FD0-D55A35D333E0}" type="datetime'''''''''''''''''''''''''''''A''p''''r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20C7AE23-4731-43A7-8B36-A1E89F9E66C8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11056939" y="996950"/>
            <a:ext cx="957263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90B139A-7706-4388-AD0A-5025C5E5527B}" type="datetime'M''''''''a''''''''''''''''''''''''''''''''''''''''y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C9D55E4-0D9A-46F3-B2D2-1EB2578A33CF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735013" y="1147763"/>
            <a:ext cx="1539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EFAE509-8960-44CF-B691-8D24168FD222}" type="datetime'''''''''''''''''''''''''3''''''0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9847A77-19AD-431F-A2E8-14E25E3A5BBA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889000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D375DCF-7335-4092-A48E-589A3BAB762D}" type="datetime'''''''''''0''''''''''''''''''''6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210A08F-5374-4CA0-A46E-80E6E414AE07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110648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6973D2D-561E-4303-84D3-CF7A12FF5D8B}" type="datetime'''''1''3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63749B2-3428-4F4C-A092-B37EFA809CC1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32238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D59C1FA-D869-48C8-8C83-0133641E1EA8}" type="datetime'''''''''''''''''''''2''''''''''''''''''''0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4DF0389-C5E5-4E91-A5B9-71F1259A4E6C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53828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12BCEB5-822E-4010-ADA1-8D43DAC22FA9}" type="datetime'''''''''''2''''''''''''''''''''''''''''''''''''''''''''''7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B1D235C-6832-40BF-B99C-6D681289A233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1754188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89007C1-74DC-47C5-910C-87685D055793}" type="datetime'''''''''''0''''''''''''''''''''4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4F1D29F-901B-489F-9F82-546BE1DF9FEF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197167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326886-934A-4194-AD25-12F9C0104A14}" type="datetime'''''''''''1''''''''''''''''''''''''1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2D27E46-D7D2-4F80-AFE4-C6B053F12FE5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218757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6F1A8A-B4B9-4073-BCAA-A99871451DD1}" type="datetime'''''''1''''''''''''8''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4D61886B-6979-4CB0-AD98-04B705154AA7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40347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9B5ED42-76D4-4F05-A812-C246AE073390}" type="datetime'''''''2''''5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B1440AD-E76C-451A-8ECF-A3FEEF159094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619375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7A1737-351F-425F-93A0-02668152598B}" type="datetime'''''''''''''''''''''''''''''0''''''1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77E81C4-C3D6-4FF3-9F35-9DB029CB8F0B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2836863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5D6275-9852-479C-A6A2-3E87DA6EA12C}" type="datetime'''''''''''''''''''0''''''''8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7B908E5-F6DF-4C67-8917-2C7ACC944E81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3052763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C71F315-4F46-4A9C-98C4-3915878B0A5E}" type="datetime'''''15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ADABC51-BC1E-43EA-AEC0-7D11281FBDE0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3268663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871F20-DF82-4636-831C-AD230763F6E5}" type="datetime'''''''''''''''''22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FD04432-6E42-4FEB-ACF4-F3336E83A2DD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484563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93E7EAB-11C9-47AA-8F53-F4339BD7AE64}" type="datetime'''''''''2''''''''''''''''''9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908F446-7F29-490F-8545-2C5ECF3CF6A4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70205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4126299-6257-4554-843E-48F851838D61}" type="datetime'''''0''''''''5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394E4E2-57C0-4D16-A403-AA4E711104B7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391795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E8549C2-BF6A-4FF6-A3E8-22AE9F6D6DF5}" type="datetime'''''''''''''''''''''''''''''''1''''''''''''''''''''''''''''2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EA85EAF-69AE-4938-8EF0-5ABABEAA3B62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413385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9FC7326-2AF8-4C2C-8811-F14C5D89844C}" type="datetime'''''''''''''''''''1''''9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4F2E1BC-2DA4-41F5-B673-A5E183D5C4A1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349750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60E9EE0-AD90-4B03-8984-64F49DBE5753}" type="datetime'''''''2''''''''''''''''''''''6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D0F6053-7197-4003-A64F-7595CD4744B4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56723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E20E33-6007-457F-945F-F8338C13F7CE}" type="datetime'''0''''''''''3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FBF83CD9-0761-438E-91FA-FE8F70F8EFD7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478313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34B8236-8157-4398-A7F6-EBB71091228A}" type="datetime'1''''''''''''''''''''''''''0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F64D294-CB01-49B3-A8D3-91D1FD9599B1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4999038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E1ED04C-3CA0-49FB-959E-F4D001C7F338}" type="datetime'''''1''''''''''''''''''''7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4B0F1C09-68C5-463E-9440-35932BBD67A7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521652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2BA709C-7231-4EFB-B430-479F4A804C66}" type="datetime'''''''''''''''''''''''''''''''''2''''''''''4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F1680E2-BE14-41B6-8132-FF8D8B85FAE9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43242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632459C-EF04-4FE2-A423-4563C45B49C4}" type="datetime'''''''''''''''''''''3''''1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41112A8-48F9-40A9-8447-A0048B7802A1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64832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F55BD91-E39C-49DA-A31B-D7DBA434D33D}" type="datetime'''''''''''''''''''''0''''''''''''7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4161DE0-9451-4D23-8DC0-8E1F5595A8A2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5864225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CCEE4BE-0D7C-4E91-A2E9-A974CE9CEA25}" type="datetime'''''''''''''14''''''''''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9965831-83FF-4785-8A40-0F163FCCC871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6081713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FFC4A36-3EC2-43E3-B2FB-A9051AC1D484}" type="datetime'2''''''''''1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598CF17-FF90-44C2-9F0E-5787DBF203E0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6297613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C8E6888-23C1-482A-90B7-162E0A7BEF78}" type="datetime'''''''2''''''''''''''''''''''''''''8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6BFEDDD-2EA8-47CF-A1A2-4E62A13334B7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513513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C318539-808B-4707-B949-C7D00C1429AC}" type="datetime'''''''''''0''''''5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56E9A06-8D37-4EA4-929C-8702F65AC9CF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6729413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E5522A0-7D61-4A91-B2CE-37B1498C79E8}" type="datetime'''''''''''''''''''1''''''''''''2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A71DA790-03ED-474D-B7AC-1C2DF384A624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694690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1B0980-317E-4363-8E8B-3096E3936537}" type="datetime'''''''''''''''''''''1''''''''''9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63D1CB0-4344-4CCE-A71F-4D6366806444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716280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D4B6546-5D51-4B42-BBDC-8C48FACED03D}" type="datetime'''''''2''''''''''''6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B2F8C6F0-AE5C-4F9E-B050-D85B1C742867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37870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43A6720-FFEF-4227-9401-698C27346189}" type="datetime'''''''''''''''''''''''0''''''''2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1685E6A8-D716-4F05-AAB2-63DF4A1626B0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594600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797F8F6-FD17-4F15-945C-BD1CF8B9B3EC}" type="datetime'''''''0''''''''''''9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A33BB2C9-F201-48A8-8A8A-E3A022557587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781208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7B5CC3E-192F-451E-939C-9D643670136B}" type="datetime'''''''''''''''''''''''''''''''1''''''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45C44BBD-B28C-4C1B-AFBE-EFE1C3C512DD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802798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E49008C-478B-4D9F-AFE2-8F45CEC3F21F}" type="datetime'''''''''''''''''''''''''''''''2''''''''''''3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2EF5CD5A-CBBC-406A-9240-B82E7E86FD82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824388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8EAFB68-265C-412B-9AAB-9DE2661C4B30}" type="datetime'''''''''3''''''0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F80858C4-3B74-4A78-9EAC-06AE61686FCB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459788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351048E-085D-408B-83A4-F4DD3D58DAC0}" type="datetime'''''''''''''''''''''0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4592B127-2ED2-4CE9-8F17-8BC2C8ED8353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67727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6940812-7D81-4B6E-97FF-EDE5C36FD14B}" type="datetime'''''''1''''''''3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4430B4E7-B2DA-4BAB-AAEC-B297C6E2889A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889317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9334E16-064A-44EC-AE3F-8618E96780D3}" type="datetime'''''2''0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71F120F0-DA36-4D8F-B8C8-BF4A53A0DDA3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910907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808A466-A7C1-4E36-89DD-7E37924B6BA3}" type="datetime'''''''''''''''''''''''''''''''''''''''''''''''''2''''7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1EED6CE1-9F8F-4614-87CA-B5F0A2247AF0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9324975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09102AC-2636-4E01-9057-7F96B42E9C14}" type="datetime'''''''''''''''''''''''''''0''''''''''''''''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16BFFE8B-F572-4677-8F39-03D4D2243C5A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542463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B73C259-BF48-4047-8AC1-757499CD635F}" type="datetime'''''''''''''''''''''''1''''''3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6EEB3DD7-D464-4BFC-A37C-844C203A67D1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9758363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5AA0F1-BBED-406F-B407-09F6C14CBDFF}" type="datetime'20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860BCD37-7966-4FAB-BE28-979001926FAE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9974263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BD27DC4-69D0-4E59-8417-70988800136D}" type="datetime'''''''''''''''''''''''2''''''''''7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7A0291A7-8493-4C98-B5F6-4848FCA8270C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1019175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636CAB1-514E-44D5-88BC-016651EDEB8C}" type="datetime'''''''''''''''0''''''''''''''''''''''3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6909471A-1683-419C-8E14-9D9D8873E091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40765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5D2B4CA-1360-4ABA-9BB1-B2DE46B5F2D7}" type="datetime'''''1''''''0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22898529-D0EF-4674-A041-24113F6E9DA5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62355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A31EF02-DE57-4431-A186-08D644698912}" type="datetime'''''''''''''1''''''''''''''''''''7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537C79F7-6DC4-4524-8023-07F2103BE224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0839450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388AA46-48B8-4DF5-866C-CF941986E4D7}" type="datetime'''''''2''''''''''4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BE342F7A-B3F1-4209-A577-0B9FF2FCBB46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105693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644F7BA-77DD-4E6D-B87F-6F4EF209FC5C}" type="datetime'0''''''''''''''''''1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3B896E3C-AF33-4CCA-A518-D720E446550F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127283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6C3AF9F-8F6E-4BA4-916C-DEA8576A2FFC}" type="datetime'''''''''''''''''''''''''''''''''''0''8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8249E3FC-8F10-4785-A772-82434534CDC4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48873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834E35F-81D0-4E29-A1EC-6166E5587121}" type="datetime'''''''''''''''''''''''''''''''''''1''5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1F005810-1752-476F-8F4E-F457AB7DBD9C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11704638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5E81CC8-AF95-439C-8515-29AAC0021F1E}" type="datetime'''''''''''''''''2''''''''''2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F154321D-1884-4FE1-A82C-5F9F00793BE4}"/>
              </a:ext>
            </a:extLst>
          </p:cNvPr>
          <p:cNvSpPr/>
          <p:nvPr userDrawn="1">
            <p:custDataLst>
              <p:tags r:id="rId73"/>
            </p:custDataLst>
          </p:nvPr>
        </p:nvSpPr>
        <p:spPr bwMode="auto">
          <a:xfrm>
            <a:off x="11922125" y="1147763"/>
            <a:ext cx="920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6E83716-19FE-49A5-8880-1D26D5A98CA7}" type="datetime'''''''''2''''''''''''''''''''''''''''''9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DF5E5695-9F3F-4F82-8D30-52EBF856E1A1}"/>
              </a:ext>
            </a:extLst>
          </p:cNvPr>
          <p:cNvCxnSpPr/>
          <p:nvPr userDrawn="1">
            <p:custDataLst>
              <p:tags r:id="rId74"/>
            </p:custDataLst>
          </p:nvPr>
        </p:nvCxnSpPr>
        <p:spPr bwMode="auto">
          <a:xfrm>
            <a:off x="638968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735013" y="1258889"/>
            <a:ext cx="0" cy="5191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1662113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12014200" y="1258889"/>
            <a:ext cx="0" cy="5191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284163" y="1258889"/>
            <a:ext cx="0" cy="5191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171A3A4-28C0-47D5-A0A0-5D55040D521F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734853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2619375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62E4FCB-643F-4757-B84D-551AECA901C3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4505325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CED21CB-A6E5-4C73-80B8-990C8F6D95D1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8305800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C4D7238-389F-490D-806D-FE3492EA503F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917098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5E2E0B8-8FB6-493B-8264-682C31BE979A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1012983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7A3DA983-D033-4649-BC02-ECE3BA83E236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546258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5CCB1C3B-B0A6-4348-A4DE-DC0AD1AE3BDB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11056938" y="1258888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3578225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15020D4A-C820-468D-AC28-655067B3B54F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284163" y="275907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201771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BE25797-5340-4A22-B539-41E82D1FD27D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349885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570706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92"/>
            </p:custDataLst>
          </p:nvPr>
        </p:nvCxnSpPr>
        <p:spPr bwMode="auto">
          <a:xfrm>
            <a:off x="284163" y="495300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93"/>
            </p:custDataLst>
          </p:nvPr>
        </p:nvCxnSpPr>
        <p:spPr bwMode="auto">
          <a:xfrm>
            <a:off x="284163" y="422592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4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95"/>
            </p:custDataLst>
          </p:nvPr>
        </p:nvCxnSpPr>
        <p:spPr bwMode="auto">
          <a:xfrm>
            <a:off x="284163" y="1258888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D1CBA368-16EC-4ED4-AB96-8313C246EEB2}"/>
              </a:ext>
            </a:extLst>
          </p:cNvPr>
          <p:cNvSpPr/>
          <p:nvPr userDrawn="1">
            <p:custDataLst>
              <p:tags r:id="rId96"/>
            </p:custDataLst>
          </p:nvPr>
        </p:nvSpPr>
        <p:spPr bwMode="auto">
          <a:xfrm>
            <a:off x="325438" y="2117725"/>
            <a:ext cx="244475" cy="5429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0" i="0" u="none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R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sz="800" b="0" i="0" u="none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                </a:t>
            </a:r>
            <a:endParaRPr kumimoji="0" lang="en-US" sz="800" b="0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0AC7D9D-0BCF-40A1-943C-B3C03907DDB6}"/>
              </a:ext>
            </a:extLst>
          </p:cNvPr>
          <p:cNvSpPr/>
          <p:nvPr userDrawn="1">
            <p:custDataLst>
              <p:tags r:id="rId97"/>
            </p:custDataLst>
          </p:nvPr>
        </p:nvSpPr>
        <p:spPr bwMode="auto">
          <a:xfrm>
            <a:off x="325438" y="1357313"/>
            <a:ext cx="366713" cy="5619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0" i="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erations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0" i="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&amp;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0" i="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Processes </a:t>
            </a:r>
            <a:endParaRPr kumimoji="0" lang="en-US" sz="800" b="0" i="0" u="none" cap="none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A9F03F-514D-47CF-A801-701AA479CC4C}"/>
              </a:ext>
            </a:extLst>
          </p:cNvPr>
          <p:cNvSpPr/>
          <p:nvPr userDrawn="1">
            <p:custDataLst>
              <p:tags r:id="rId98"/>
            </p:custDataLst>
          </p:nvPr>
        </p:nvSpPr>
        <p:spPr bwMode="auto">
          <a:xfrm>
            <a:off x="325438" y="2857500"/>
            <a:ext cx="244475" cy="5429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0" i="0" u="none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nancial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sz="800" b="0" i="0" u="none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                </a:t>
            </a:r>
            <a:endParaRPr kumimoji="0" lang="en-US" sz="800" b="0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41F9654D-2BBE-48C7-A406-F1618A5D149E}"/>
              </a:ext>
            </a:extLst>
          </p:cNvPr>
          <p:cNvSpPr/>
          <p:nvPr userDrawn="1">
            <p:custDataLst>
              <p:tags r:id="rId99"/>
            </p:custDataLst>
          </p:nvPr>
        </p:nvSpPr>
        <p:spPr bwMode="auto">
          <a:xfrm>
            <a:off x="325438" y="5807075"/>
            <a:ext cx="244475" cy="54451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80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nefit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80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alization*</a:t>
            </a:r>
            <a:endParaRPr kumimoji="0" lang="en-US" sz="800" b="0" i="0" u="none" cap="none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E6DB368-A58E-4267-AF9A-BBE7A690005E}"/>
              </a:ext>
            </a:extLst>
          </p:cNvPr>
          <p:cNvSpPr/>
          <p:nvPr userDrawn="1">
            <p:custDataLst>
              <p:tags r:id="rId100"/>
            </p:custDataLst>
          </p:nvPr>
        </p:nvSpPr>
        <p:spPr bwMode="auto">
          <a:xfrm>
            <a:off x="325438" y="3598863"/>
            <a:ext cx="122238" cy="5286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0" i="0" u="none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chnology</a:t>
            </a:r>
            <a:endParaRPr kumimoji="0" lang="en-US" sz="800" b="0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101"/>
            </p:custDataLst>
          </p:nvPr>
        </p:nvSpPr>
        <p:spPr bwMode="auto">
          <a:xfrm>
            <a:off x="325438" y="1127125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72D27B-0E84-40A8-BFA6-7D892BCA190C}"/>
              </a:ext>
            </a:extLst>
          </p:cNvPr>
          <p:cNvSpPr/>
          <p:nvPr userDrawn="1">
            <p:custDataLst>
              <p:tags r:id="rId102"/>
            </p:custDataLst>
          </p:nvPr>
        </p:nvSpPr>
        <p:spPr bwMode="auto">
          <a:xfrm>
            <a:off x="325438" y="4324350"/>
            <a:ext cx="244475" cy="5302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0" i="0" u="none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Change   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0" i="0" u="none" cap="none" baseline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ngt</a:t>
            </a:r>
            <a:r>
              <a:rPr kumimoji="0" lang="en-US" altLang="en-US" sz="800" b="0" i="0" u="none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kumimoji="0" lang="en-US" sz="800" b="0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A475102B-1E8C-4643-945D-11E52A047605}"/>
              </a:ext>
            </a:extLst>
          </p:cNvPr>
          <p:cNvSpPr/>
          <p:nvPr userDrawn="1">
            <p:custDataLst>
              <p:tags r:id="rId103"/>
            </p:custDataLst>
          </p:nvPr>
        </p:nvSpPr>
        <p:spPr bwMode="auto">
          <a:xfrm>
            <a:off x="325438" y="5051425"/>
            <a:ext cx="122238" cy="55721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800" u="none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overnance</a:t>
            </a: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104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105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7" name="TextBox 366">
            <a:extLst>
              <a:ext uri="{FF2B5EF4-FFF2-40B4-BE49-F238E27FC236}">
                <a16:creationId xmlns:a16="http://schemas.microsoft.com/office/drawing/2014/main" id="{19C0BF61-2C2D-47D9-994B-158116644FDC}"/>
              </a:ext>
            </a:extLst>
          </p:cNvPr>
          <p:cNvSpPr txBox="1"/>
          <p:nvPr userDrawn="1"/>
        </p:nvSpPr>
        <p:spPr>
          <a:xfrm>
            <a:off x="2098978" y="6477105"/>
            <a:ext cx="165942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/>
              <a:t>*accumulated Benefit realization</a:t>
            </a: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71FA090-311B-4ED6-AC99-D09FC763B6FF}"/>
              </a:ext>
            </a:extLst>
          </p:cNvPr>
          <p:cNvSpPr/>
          <p:nvPr userDrawn="1"/>
        </p:nvSpPr>
        <p:spPr>
          <a:xfrm>
            <a:off x="325438" y="1357313"/>
            <a:ext cx="366713" cy="58713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 err="1">
              <a:solidFill>
                <a:schemeClr val="tx1"/>
              </a:solidFill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348CECC4-25BB-4C82-91C5-4EBFFE154683}"/>
              </a:ext>
            </a:extLst>
          </p:cNvPr>
          <p:cNvSpPr/>
          <p:nvPr userDrawn="1"/>
        </p:nvSpPr>
        <p:spPr>
          <a:xfrm>
            <a:off x="325438" y="2838455"/>
            <a:ext cx="366713" cy="58713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 err="1">
              <a:solidFill>
                <a:schemeClr val="tx1"/>
              </a:solidFill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8F48A1BA-4C09-4DE6-A76E-D836C3B186D3}"/>
              </a:ext>
            </a:extLst>
          </p:cNvPr>
          <p:cNvSpPr/>
          <p:nvPr userDrawn="1"/>
        </p:nvSpPr>
        <p:spPr>
          <a:xfrm>
            <a:off x="325438" y="4303155"/>
            <a:ext cx="366713" cy="58713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 err="1">
              <a:solidFill>
                <a:schemeClr val="tx1"/>
              </a:solidFill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AC614E80-8AB5-48FC-AFB8-45051DFBE7E4}"/>
              </a:ext>
            </a:extLst>
          </p:cNvPr>
          <p:cNvSpPr/>
          <p:nvPr userDrawn="1"/>
        </p:nvSpPr>
        <p:spPr>
          <a:xfrm>
            <a:off x="325438" y="5007104"/>
            <a:ext cx="366713" cy="64585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 err="1">
              <a:solidFill>
                <a:schemeClr val="tx1"/>
              </a:solidFill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92D818D2-0005-447B-904C-78FDDA916171}"/>
              </a:ext>
            </a:extLst>
          </p:cNvPr>
          <p:cNvSpPr/>
          <p:nvPr userDrawn="1"/>
        </p:nvSpPr>
        <p:spPr>
          <a:xfrm>
            <a:off x="325438" y="3530066"/>
            <a:ext cx="366713" cy="64585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 err="1">
              <a:solidFill>
                <a:schemeClr val="tx1"/>
              </a:solidFill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37EA574-5C7C-4E15-A2D3-C95E711BBAA1}"/>
              </a:ext>
            </a:extLst>
          </p:cNvPr>
          <p:cNvSpPr/>
          <p:nvPr userDrawn="1"/>
        </p:nvSpPr>
        <p:spPr>
          <a:xfrm>
            <a:off x="325438" y="2118142"/>
            <a:ext cx="366713" cy="48523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 err="1">
              <a:solidFill>
                <a:schemeClr val="tx1"/>
              </a:solidFill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FA8E2A7-D2F8-439C-94E6-967B94870E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160332" y="1433514"/>
            <a:ext cx="739779" cy="409566"/>
          </a:xfrm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51" name="Text Placeholder 20">
            <a:extLst>
              <a:ext uri="{FF2B5EF4-FFF2-40B4-BE49-F238E27FC236}">
                <a16:creationId xmlns:a16="http://schemas.microsoft.com/office/drawing/2014/main" id="{8A203656-D823-4C8D-A056-88696446C4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160332" y="2179652"/>
            <a:ext cx="739779" cy="409566"/>
          </a:xfrm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52" name="Text Placeholder 20">
            <a:extLst>
              <a:ext uri="{FF2B5EF4-FFF2-40B4-BE49-F238E27FC236}">
                <a16:creationId xmlns:a16="http://schemas.microsoft.com/office/drawing/2014/main" id="{2F3846E7-11C5-4C94-A1B5-C33B31A231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60332" y="2932118"/>
            <a:ext cx="739779" cy="409566"/>
          </a:xfrm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58" name="Text Placeholder 20">
            <a:extLst>
              <a:ext uri="{FF2B5EF4-FFF2-40B4-BE49-F238E27FC236}">
                <a16:creationId xmlns:a16="http://schemas.microsoft.com/office/drawing/2014/main" id="{5DEE53A1-62ED-4ED3-B745-7892D2950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160332" y="3678256"/>
            <a:ext cx="739779" cy="409566"/>
          </a:xfrm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59" name="Text Placeholder 20">
            <a:extLst>
              <a:ext uri="{FF2B5EF4-FFF2-40B4-BE49-F238E27FC236}">
                <a16:creationId xmlns:a16="http://schemas.microsoft.com/office/drawing/2014/main" id="{8A16DB51-C8C4-4D48-B2F4-535AE167BA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160332" y="4389664"/>
            <a:ext cx="739779" cy="409566"/>
          </a:xfrm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60" name="Text Placeholder 20">
            <a:extLst>
              <a:ext uri="{FF2B5EF4-FFF2-40B4-BE49-F238E27FC236}">
                <a16:creationId xmlns:a16="http://schemas.microsoft.com/office/drawing/2014/main" id="{F9546D31-1F2E-4A6A-AB3B-E1E63479F6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160333" y="5135802"/>
            <a:ext cx="739779" cy="409565"/>
          </a:xfrm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</p:spTree>
    <p:extLst>
      <p:ext uri="{BB962C8B-B14F-4D97-AF65-F5344CB8AC3E}">
        <p14:creationId xmlns:p14="http://schemas.microsoft.com/office/powerpoint/2010/main" val="1784649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tional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5" name="think-cell Slide" r:id="rId105" imgW="360" imgH="360" progId="TCLayout.ActiveDocument.1">
                  <p:embed/>
                </p:oleObj>
              </mc:Choice>
              <mc:Fallback>
                <p:oleObj name="think-cell Slide" r:id="rId10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1908175"/>
            <a:ext cx="11730037" cy="647700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4503738"/>
            <a:ext cx="11730037" cy="647700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95B97BE-9A74-47A3-A12B-5E2FD3EA6CCC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284163" y="5800725"/>
            <a:ext cx="11730037" cy="64928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107A95-FE9F-4685-8307-E52B92FCF783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284163" y="3205163"/>
            <a:ext cx="11730037" cy="64928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590A545E-8318-4FCC-B934-23B5BFA9B540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735014" y="846139"/>
            <a:ext cx="552926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3ECA137-F55C-410D-BC53-4FFDE96A734A}" type="datetime'''''2''''''''''''''0''''''''2''''''1'''''''">
              <a:rPr kumimoji="0" lang="en-US" altLang="en-US" sz="800" b="1" i="0" u="none" kern="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4C416A67-562A-4DB1-9B3A-5FB4A9491905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6264275" y="846139"/>
            <a:ext cx="390048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BBD25D0-0C34-4D1C-B880-17EA72A87598}" type="datetime'''''''2''''''''0''''''''''''2''''''''''''''''''''''2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F68D6C89-9F09-4423-9C8E-4C02A347C104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735013" y="996950"/>
            <a:ext cx="7747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481CA06-F751-4BAE-8FE0-1F32B152E57A}" type="datetime'''''''''''J''''''''''u''''''''''''''''''n''''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21022097-919B-4992-9530-A55E0A5F06C0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1509713" y="996950"/>
            <a:ext cx="801688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D70D978-69A9-4592-92F1-D931A182AB9F}" type="datetime'''J''''''''''''''''u''''''''l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938FFDD9-B2F3-4A20-BF65-CE4A77860976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2311400" y="996950"/>
            <a:ext cx="8001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CF3A17C-C849-4893-92B3-818F03CF8B85}" type="datetime'''A''''''''''''''''u''''''''''''''''''''''''g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8B27CEA3-6517-4334-AF85-935C6835CA82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3111500" y="996950"/>
            <a:ext cx="7747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D00D94B-9F80-4AB7-9F74-44C85DDE1710}" type="datetime'''''''''''''''''''''''''''''''''''S''e''''''p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EBFE408D-73FC-40D4-8FB8-381F5EAB1510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3886200" y="996950"/>
            <a:ext cx="801688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C27CF4C-5AF8-4478-B517-4C3208B779D0}" type="datetime'''O''''''''''''''''''''''''''''''''c''''''t''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EB6CA133-0CF4-43B4-B0F6-FE4B9EFFD4C4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4687888" y="996950"/>
            <a:ext cx="7747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A410E14-1F1A-4F54-BE7A-E0263D41876C}" type="datetime'''''''''''''''N''''''''''''''''''''''o''''''''v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9407217E-0972-4D83-8AF5-2B8088A70EDF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5462588" y="996950"/>
            <a:ext cx="801688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54826CB-AE79-4DB4-8929-D567BAAD8E69}" type="datetime'''''''D''''''''''''''''''''''''''''''''''''e''''''''''c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A32F7BD9-CFA1-4F86-A90F-B8CDC670E886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6264275" y="996950"/>
            <a:ext cx="8001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572039A-32B2-4070-A8A7-200A7A6DD5E9}" type="datetime'J''''''''''''''''''''''''''''''a''n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7A8C193A-DC80-4546-A4C9-31D6BC479D67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7064375" y="996950"/>
            <a:ext cx="7239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2139FB9-D42B-4DD9-8288-9EF7578F9684}" type="datetime'''''F''''''''''''''''''e''''''b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BAED419F-0ABC-4E24-AEF2-8B9F53B0715E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7788275" y="996950"/>
            <a:ext cx="8001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F344968-EB39-4DCB-91AC-38E5A3AB8CA0}" type="datetime'''''''M''''''''''''''a''''''''''''''''''''''r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926A35C8-9A45-4D0C-BBC7-D45778CD16AB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8588375" y="996950"/>
            <a:ext cx="776288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EB1D2A9-705C-4B70-8FD0-D55A35D333E0}" type="datetime'''''''''''''''''''''''''''''A''p''''r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20C7AE23-4731-43A7-8B36-A1E89F9E66C8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9364663" y="996950"/>
            <a:ext cx="8001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90B139A-7706-4388-AD0A-5025C5E5527B}" type="datetime'M''''''''a''''''''''''''''''''''''''''''''''''''''y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C9D55E4-0D9A-46F3-B2D2-1EB2578A33CF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735013" y="1147763"/>
            <a:ext cx="1285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EFAE509-8960-44CF-B691-8D24168FD222}" type="datetime'''''''''''''''''''''''''3''''''0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9847A77-19AD-431F-A2E8-14E25E3A5BBA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863601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D375DCF-7335-4092-A48E-589A3BAB762D}" type="datetime'''''''''''0''''''''''''''''''''6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210A08F-5374-4CA0-A46E-80E6E414AE07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044576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6973D2D-561E-4303-84D3-CF7A12FF5D8B}" type="datetime'''''1''3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63749B2-3428-4F4C-A092-B37EFA809CC1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225551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D59C1FA-D869-48C8-8C83-0133641E1EA8}" type="datetime'''''''''''''''''''''2''''''''''''''''''''0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4DF0389-C5E5-4E91-A5B9-71F1259A4E6C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1406526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12BCEB5-822E-4010-ADA1-8D43DAC22FA9}" type="datetime'''''''''''2''''''''''''''''''''''''''''''''''''''''''''''7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B1D235C-6832-40BF-B99C-6D681289A233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1587501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89007C1-74DC-47C5-910C-87685D055793}" type="datetime'''''''''''0''''''''''''''''''''4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4F1D29F-901B-489F-9F82-546BE1DF9FEF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1768476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326886-934A-4194-AD25-12F9C0104A14}" type="datetime'''''''''''1''''''''''''''''''''''''1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2D27E46-D7D2-4F80-AFE4-C6B053F12FE5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1949451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6F1A8A-B4B9-4073-BCAA-A99871451DD1}" type="datetime'''''''1''''''''''''8''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4D61886B-6979-4CB0-AD98-04B705154AA7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130426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9B5ED42-76D4-4F05-A812-C246AE073390}" type="datetime'''''''2''''5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B1440AD-E76C-451A-8ECF-A3FEEF159094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2311401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7A1737-351F-425F-93A0-02668152598B}" type="datetime'''''''''''''''''''''''''''''0''''''1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77E81C4-C3D6-4FF3-9F35-9DB029CB8F0B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2492376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5D6275-9852-479C-A6A2-3E87DA6EA12C}" type="datetime'''''''''''''''''''0''''''''8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7B908E5-F6DF-4C67-8917-2C7ACC944E81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2673350" y="1147763"/>
            <a:ext cx="1793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C71F315-4F46-4A9C-98C4-3915878B0A5E}" type="datetime'''''15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ADABC51-BC1E-43EA-AEC0-7D11281FBDE0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2852739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871F20-DF82-4636-831C-AD230763F6E5}" type="datetime'''''''''''''''''22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FD04432-6E42-4FEB-ACF4-F3336E83A2DD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033714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93E7EAB-11C9-47AA-8F53-F4339BD7AE64}" type="datetime'''''''''2''''''''''''''''''9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908F446-7F29-490F-8545-2C5ECF3CF6A4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3214689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4126299-6257-4554-843E-48F851838D61}" type="datetime'''''0''''''''5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394E4E2-57C0-4D16-A403-AA4E711104B7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3395664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E8549C2-BF6A-4FF6-A3E8-22AE9F6D6DF5}" type="datetime'''''''''''''''''''''''''''''''1''''''''''''''''''''''''''''2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EA85EAF-69AE-4938-8EF0-5ABABEAA3B62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3576639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9FC7326-2AF8-4C2C-8811-F14C5D89844C}" type="datetime'''''''''''''''''''1''''9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4F2E1BC-2DA4-41F5-B673-A5E183D5C4A1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3757614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60E9EE0-AD90-4B03-8984-64F49DBE5753}" type="datetime'''''''2''''''''''''''''''''''6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D0F6053-7197-4003-A64F-7595CD4744B4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3938589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E20E33-6007-457F-945F-F8338C13F7CE}" type="datetime'''0''''''''''3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FBF83CD9-0761-438E-91FA-FE8F70F8EFD7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4119564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34B8236-8157-4398-A7F6-EBB71091228A}" type="datetime'1''''''''''''''''''''''''''0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F64D294-CB01-49B3-A8D3-91D1FD9599B1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4300539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E1ED04C-3CA0-49FB-959E-F4D001C7F338}" type="datetime'''''1''''''''''''''''''''7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4B0F1C09-68C5-463E-9440-35932BBD67A7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4481514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2BA709C-7231-4EFB-B430-479F4A804C66}" type="datetime'''''''''''''''''''''''''''''''''2''''''''''4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F1680E2-BE14-41B6-8132-FF8D8B85FAE9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4662489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632459C-EF04-4FE2-A423-4563C45B49C4}" type="datetime'''''''''''''''''''''3''''1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41112A8-48F9-40A9-8447-A0048B7802A1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4843463" y="1147763"/>
            <a:ext cx="1793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F55BD91-E39C-49DA-A31B-D7DBA434D33D}" type="datetime'''''''''''''''''''''0''''''''''''7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4161DE0-9451-4D23-8DC0-8E1F5595A8A2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5022851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CCEE4BE-0D7C-4E91-A2E9-A974CE9CEA25}" type="datetime'''''''''''''14''''''''''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9965831-83FF-4785-8A40-0F163FCCC871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5203826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FFC4A36-3EC2-43E3-B2FB-A9051AC1D484}" type="datetime'2''''''''''1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598CF17-FF90-44C2-9F0E-5787DBF203E0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5384801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C8E6888-23C1-482A-90B7-162E0A7BEF78}" type="datetime'''''''2''''''''''''''''''''''''''''8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6BFEDDD-2EA8-47CF-A1A2-4E62A13334B7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5565776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C318539-808B-4707-B949-C7D00C1429AC}" type="datetime'''''''''''0''''''5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56E9A06-8D37-4EA4-929C-8702F65AC9CF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5746751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E5522A0-7D61-4A91-B2CE-37B1498C79E8}" type="datetime'''''''''''''''''''1''''''''''''2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A71DA790-03ED-474D-B7AC-1C2DF384A624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5927726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1B0980-317E-4363-8E8B-3096E3936537}" type="datetime'''''''''''''''''''''1''''''''''9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63D1CB0-4344-4CCE-A71F-4D6366806444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6108701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D4B6546-5D51-4B42-BBDC-8C48FACED03D}" type="datetime'''''''2''''''''''''6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B2F8C6F0-AE5C-4F9E-B050-D85B1C742867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6289676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43A6720-FFEF-4227-9401-698C27346189}" type="datetime'''''''''''''''''''''''0''''''''2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1685E6A8-D716-4F05-AAB2-63DF4A1626B0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6470651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797F8F6-FD17-4F15-945C-BD1CF8B9B3EC}" type="datetime'''''''0''''''''''''9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A33BB2C9-F201-48A8-8A8A-E3A022557587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6651626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7B5CC3E-192F-451E-939C-9D643670136B}" type="datetime'''''''''''''''''''''''''''''''1''''''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45C44BBD-B28C-4C1B-AFBE-EFE1C3C512DD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6832601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E49008C-478B-4D9F-AFE2-8F45CEC3F21F}" type="datetime'''''''''''''''''''''''''''''''2''''''''''''3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2EF5CD5A-CBBC-406A-9240-B82E7E86FD82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7013575" y="1147763"/>
            <a:ext cx="1793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8EAFB68-265C-412B-9AAB-9DE2661C4B30}" type="datetime'''''''''3''''''0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F80858C4-3B74-4A78-9EAC-06AE61686FCB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7192964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351048E-085D-408B-83A4-F4DD3D58DAC0}" type="datetime'''''''''''''''''''''0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4592B127-2ED2-4CE9-8F17-8BC2C8ED8353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7373939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6940812-7D81-4B6E-97FF-EDE5C36FD14B}" type="datetime'''''''1''''''''3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4430B4E7-B2DA-4BAB-AAEC-B297C6E2889A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7554914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9334E16-064A-44EC-AE3F-8618E96780D3}" type="datetime'''''2''0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71F120F0-DA36-4D8F-B8C8-BF4A53A0DDA3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7735889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808A466-A7C1-4E36-89DD-7E37924B6BA3}" type="datetime'''''''''''''''''''''''''''''''''''''''''''''''''2''''7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1EED6CE1-9F8F-4614-87CA-B5F0A2247AF0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7916864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09102AC-2636-4E01-9057-7F96B42E9C14}" type="datetime'''''''''''''''''''''''''''0''''''''''''''''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16BFFE8B-F572-4677-8F39-03D4D2243C5A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8097839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B73C259-BF48-4047-8AC1-757499CD635F}" type="datetime'''''''''''''''''''''''1''''''3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6EEB3DD7-D464-4BFC-A37C-844C203A67D1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8278814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5AA0F1-BBED-406F-B407-09F6C14CBDFF}" type="datetime'20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860BCD37-7966-4FAB-BE28-979001926FAE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8459789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BD27DC4-69D0-4E59-8417-70988800136D}" type="datetime'''''''''''''''''''''''2''''''''''7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7A0291A7-8493-4C98-B5F6-4848FCA8270C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8640764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636CAB1-514E-44D5-88BC-016651EDEB8C}" type="datetime'''''''''''''''0''''''''''''''''''''''3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6909471A-1683-419C-8E14-9D9D8873E091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8821739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5D2B4CA-1360-4ABA-9BB1-B2DE46B5F2D7}" type="datetime'''''1''''''0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22898529-D0EF-4674-A041-24113F6E9DA5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9002714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A31EF02-DE57-4431-A186-08D644698912}" type="datetime'''''''''''''1''''''''''''''''''''7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537C79F7-6DC4-4524-8023-07F2103BE224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9183689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388AA46-48B8-4DF5-866C-CF941986E4D7}" type="datetime'''''''2''''''''''4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BE342F7A-B3F1-4209-A577-0B9FF2FCBB46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9364663" y="1147763"/>
            <a:ext cx="1793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644F7BA-77DD-4E6D-B87F-6F4EF209FC5C}" type="datetime'0''''''''''''''''''1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3B896E3C-AF33-4CCA-A518-D720E446550F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9544051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6C3AF9F-8F6E-4BA4-916C-DEA8576A2FFC}" type="datetime'''''''''''''''''''''''''''''''''''0''8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8249E3FC-8F10-4785-A772-82434534CDC4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9725026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834E35F-81D0-4E29-A1EC-6166E5587121}" type="datetime'''''''''''''''''''''''''''''''''''1''5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1F005810-1752-476F-8F4E-F457AB7DBD9C}"/>
              </a:ext>
            </a:extLst>
          </p:cNvPr>
          <p:cNvSpPr/>
          <p:nvPr userDrawn="1">
            <p:custDataLst>
              <p:tags r:id="rId73"/>
            </p:custDataLst>
          </p:nvPr>
        </p:nvSpPr>
        <p:spPr bwMode="auto">
          <a:xfrm>
            <a:off x="9906001" y="1147763"/>
            <a:ext cx="1809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5E81CC8-AF95-439C-8515-29AAC0021F1E}" type="datetime'''''''''''''''''2''''''''''2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F154321D-1884-4FE1-A82C-5F9F00793BE4}"/>
              </a:ext>
            </a:extLst>
          </p:cNvPr>
          <p:cNvSpPr/>
          <p:nvPr userDrawn="1">
            <p:custDataLst>
              <p:tags r:id="rId74"/>
            </p:custDataLst>
          </p:nvPr>
        </p:nvSpPr>
        <p:spPr bwMode="auto">
          <a:xfrm>
            <a:off x="10086975" y="1147763"/>
            <a:ext cx="777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CED21CB-A6E5-4C73-80B8-990C8F6D95D1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7064375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DF5E5695-9F3F-4F82-8D30-52EBF856E1A1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546258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5CCB1C3B-B0A6-4348-A4DE-DC0AD1AE3BDB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9364663" y="1258888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62E4FCB-643F-4757-B84D-551AECA901C3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3886200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7A3DA983-D033-4649-BC02-ECE3BA83E236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468788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1509713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3111500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2311400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171A3A4-28C0-47D5-A0A0-5D55040D521F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6264275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C4D7238-389F-490D-806D-FE3492EA503F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7788275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5E2E0B8-8FB6-493B-8264-682C31BE979A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8588375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735013" y="1258889"/>
            <a:ext cx="0" cy="5191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10164763" y="1258889"/>
            <a:ext cx="0" cy="5191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284163" y="1258889"/>
            <a:ext cx="0" cy="5191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78E464-BD54-44AA-98D1-10EB4CC0BA4C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12014200" y="1258888"/>
            <a:ext cx="0" cy="5191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3C5B235-0EA1-4CC7-A85E-2729801F59BA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5800725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385445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92"/>
            </p:custDataLst>
          </p:nvPr>
        </p:nvCxnSpPr>
        <p:spPr bwMode="auto">
          <a:xfrm>
            <a:off x="284163" y="190817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15020D4A-C820-468D-AC28-655067B3B54F}"/>
              </a:ext>
            </a:extLst>
          </p:cNvPr>
          <p:cNvCxnSpPr/>
          <p:nvPr userDrawn="1">
            <p:custDataLst>
              <p:tags r:id="rId93"/>
            </p:custDataLst>
          </p:nvPr>
        </p:nvCxnSpPr>
        <p:spPr bwMode="auto">
          <a:xfrm>
            <a:off x="284163" y="255587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94"/>
            </p:custDataLst>
          </p:nvPr>
        </p:nvCxnSpPr>
        <p:spPr bwMode="auto">
          <a:xfrm>
            <a:off x="284163" y="515143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95"/>
            </p:custDataLst>
          </p:nvPr>
        </p:nvCxnSpPr>
        <p:spPr bwMode="auto">
          <a:xfrm>
            <a:off x="284163" y="450373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BE25797-5340-4A22-B539-41E82D1FD27D}"/>
              </a:ext>
            </a:extLst>
          </p:cNvPr>
          <p:cNvCxnSpPr/>
          <p:nvPr userDrawn="1">
            <p:custDataLst>
              <p:tags r:id="rId96"/>
            </p:custDataLst>
          </p:nvPr>
        </p:nvCxnSpPr>
        <p:spPr bwMode="auto">
          <a:xfrm>
            <a:off x="284163" y="320516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7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98"/>
            </p:custDataLst>
          </p:nvPr>
        </p:nvCxnSpPr>
        <p:spPr bwMode="auto">
          <a:xfrm>
            <a:off x="284163" y="1258888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EACD7E84-38A8-49EC-B185-571B0E08AD77}"/>
              </a:ext>
            </a:extLst>
          </p:cNvPr>
          <p:cNvSpPr/>
          <p:nvPr userDrawn="1">
            <p:custDataLst>
              <p:tags r:id="rId99"/>
            </p:custDataLst>
          </p:nvPr>
        </p:nvSpPr>
        <p:spPr bwMode="auto">
          <a:xfrm>
            <a:off x="11106150" y="1004888"/>
            <a:ext cx="866775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1" i="0" u="none" kern="1200" cap="none" spc="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xt Steps / </a:t>
            </a:r>
          </a:p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r>
              <a:rPr kumimoji="0" lang="en-US" sz="800" b="1" i="0" u="none" kern="1200" cap="none" spc="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untermeasures</a:t>
            </a:r>
            <a:endParaRPr kumimoji="0" lang="en-US" sz="800" b="1" i="0" u="none" kern="1200" cap="none" spc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100"/>
            </p:custDataLst>
          </p:nvPr>
        </p:nvSpPr>
        <p:spPr bwMode="auto">
          <a:xfrm>
            <a:off x="325438" y="1127125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9AB45A0-0A5F-48D5-B307-E44AD454EE50}"/>
              </a:ext>
            </a:extLst>
          </p:cNvPr>
          <p:cNvSpPr/>
          <p:nvPr userDrawn="1">
            <p:custDataLst>
              <p:tags r:id="rId101"/>
            </p:custDataLst>
          </p:nvPr>
        </p:nvSpPr>
        <p:spPr bwMode="auto">
          <a:xfrm>
            <a:off x="10206038" y="1004888"/>
            <a:ext cx="858838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1" i="0" u="none" kern="1200" cap="none" spc="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blems /</a:t>
            </a:r>
          </a:p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1" i="0" u="none" kern="1200" cap="none" spc="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pport Required</a:t>
            </a:r>
            <a:endParaRPr kumimoji="0" lang="en-US" sz="800" b="1" i="0" u="none" kern="1200" cap="none" spc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102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103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1" name="Text Placeholder 20">
            <a:extLst>
              <a:ext uri="{FF2B5EF4-FFF2-40B4-BE49-F238E27FC236}">
                <a16:creationId xmlns:a16="http://schemas.microsoft.com/office/drawing/2014/main" id="{8A203656-D823-4C8D-A056-88696446C4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212329" y="1380727"/>
            <a:ext cx="594519" cy="409566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EA0DEF9-E119-4C99-A41F-51E585118654}"/>
              </a:ext>
            </a:extLst>
          </p:cNvPr>
          <p:cNvCxnSpPr>
            <a:cxnSpLocks/>
          </p:cNvCxnSpPr>
          <p:nvPr userDrawn="1"/>
        </p:nvCxnSpPr>
        <p:spPr>
          <a:xfrm>
            <a:off x="11032862" y="1258888"/>
            <a:ext cx="0" cy="519112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Text Placeholder 20">
            <a:extLst>
              <a:ext uri="{FF2B5EF4-FFF2-40B4-BE49-F238E27FC236}">
                <a16:creationId xmlns:a16="http://schemas.microsoft.com/office/drawing/2014/main" id="{35E771E8-0BD5-4B84-9277-2D013140B8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212329" y="2029844"/>
            <a:ext cx="594519" cy="40956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80" name="Text Placeholder 20">
            <a:extLst>
              <a:ext uri="{FF2B5EF4-FFF2-40B4-BE49-F238E27FC236}">
                <a16:creationId xmlns:a16="http://schemas.microsoft.com/office/drawing/2014/main" id="{9EC2304A-343B-4374-AE0B-6D120B18C9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212329" y="2678961"/>
            <a:ext cx="594519" cy="409566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81" name="Text Placeholder 20">
            <a:extLst>
              <a:ext uri="{FF2B5EF4-FFF2-40B4-BE49-F238E27FC236}">
                <a16:creationId xmlns:a16="http://schemas.microsoft.com/office/drawing/2014/main" id="{E85FC741-59C5-4B42-861F-FF9EB1EB27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212330" y="3328078"/>
            <a:ext cx="594519" cy="40956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82" name="Text Placeholder 20">
            <a:extLst>
              <a:ext uri="{FF2B5EF4-FFF2-40B4-BE49-F238E27FC236}">
                <a16:creationId xmlns:a16="http://schemas.microsoft.com/office/drawing/2014/main" id="{3A0338A4-D0DB-4F27-A7F0-3DA23182A0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212331" y="3977195"/>
            <a:ext cx="594519" cy="409566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83" name="Text Placeholder 20">
            <a:extLst>
              <a:ext uri="{FF2B5EF4-FFF2-40B4-BE49-F238E27FC236}">
                <a16:creationId xmlns:a16="http://schemas.microsoft.com/office/drawing/2014/main" id="{695BCB02-2697-47D8-8EAC-227B90DE80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16200000">
            <a:off x="212332" y="4626312"/>
            <a:ext cx="594519" cy="40956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84" name="Text Placeholder 20">
            <a:extLst>
              <a:ext uri="{FF2B5EF4-FFF2-40B4-BE49-F238E27FC236}">
                <a16:creationId xmlns:a16="http://schemas.microsoft.com/office/drawing/2014/main" id="{19EE7D1F-E0B2-4FAD-9846-CCAE905F418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16200000">
            <a:off x="212333" y="5275429"/>
            <a:ext cx="594519" cy="409566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85" name="Text Placeholder 20">
            <a:extLst>
              <a:ext uri="{FF2B5EF4-FFF2-40B4-BE49-F238E27FC236}">
                <a16:creationId xmlns:a16="http://schemas.microsoft.com/office/drawing/2014/main" id="{6E825163-3CC1-4FE1-8766-E22CB36F40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16200000">
            <a:off x="212329" y="5924548"/>
            <a:ext cx="594519" cy="40955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86" name="Text Placeholder 20">
            <a:extLst>
              <a:ext uri="{FF2B5EF4-FFF2-40B4-BE49-F238E27FC236}">
                <a16:creationId xmlns:a16="http://schemas.microsoft.com/office/drawing/2014/main" id="{31028FCC-C1D2-4156-BD9A-A9ADE736DAA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07376" y="1380728"/>
            <a:ext cx="594519" cy="409566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87" name="Text Placeholder 20">
            <a:extLst>
              <a:ext uri="{FF2B5EF4-FFF2-40B4-BE49-F238E27FC236}">
                <a16:creationId xmlns:a16="http://schemas.microsoft.com/office/drawing/2014/main" id="{72388DC6-FAC1-4282-8241-C3816D8E354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307376" y="2029845"/>
            <a:ext cx="594519" cy="40956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88" name="Text Placeholder 20">
            <a:extLst>
              <a:ext uri="{FF2B5EF4-FFF2-40B4-BE49-F238E27FC236}">
                <a16:creationId xmlns:a16="http://schemas.microsoft.com/office/drawing/2014/main" id="{0F5A05C6-4BCE-41E7-B6AA-DF16477D0AB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307376" y="2678962"/>
            <a:ext cx="594519" cy="409566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89" name="Text Placeholder 20">
            <a:extLst>
              <a:ext uri="{FF2B5EF4-FFF2-40B4-BE49-F238E27FC236}">
                <a16:creationId xmlns:a16="http://schemas.microsoft.com/office/drawing/2014/main" id="{C7FA947F-D3AB-4370-A78F-4C596AE2F5A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307377" y="3328079"/>
            <a:ext cx="594519" cy="40956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90" name="Text Placeholder 20">
            <a:extLst>
              <a:ext uri="{FF2B5EF4-FFF2-40B4-BE49-F238E27FC236}">
                <a16:creationId xmlns:a16="http://schemas.microsoft.com/office/drawing/2014/main" id="{01186717-EE84-4CCE-BA1A-6CEAE58B712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307378" y="3977196"/>
            <a:ext cx="594519" cy="409566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91" name="Text Placeholder 20">
            <a:extLst>
              <a:ext uri="{FF2B5EF4-FFF2-40B4-BE49-F238E27FC236}">
                <a16:creationId xmlns:a16="http://schemas.microsoft.com/office/drawing/2014/main" id="{F148015D-A541-49BE-BB92-8A79FFBBE7A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307379" y="4626313"/>
            <a:ext cx="594519" cy="40956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92" name="Text Placeholder 20">
            <a:extLst>
              <a:ext uri="{FF2B5EF4-FFF2-40B4-BE49-F238E27FC236}">
                <a16:creationId xmlns:a16="http://schemas.microsoft.com/office/drawing/2014/main" id="{750B3BA1-E401-487C-A354-DC503A3A5FC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307380" y="5275430"/>
            <a:ext cx="594519" cy="409566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93" name="Text Placeholder 20">
            <a:extLst>
              <a:ext uri="{FF2B5EF4-FFF2-40B4-BE49-F238E27FC236}">
                <a16:creationId xmlns:a16="http://schemas.microsoft.com/office/drawing/2014/main" id="{8AB9C8ED-88D5-42D0-9A66-241C035C209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307376" y="5924549"/>
            <a:ext cx="594519" cy="40955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94" name="Text Placeholder 20">
            <a:extLst>
              <a:ext uri="{FF2B5EF4-FFF2-40B4-BE49-F238E27FC236}">
                <a16:creationId xmlns:a16="http://schemas.microsoft.com/office/drawing/2014/main" id="{EB64B5C8-ADF9-41FB-ABAF-85222AE9DB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235927" y="1380728"/>
            <a:ext cx="594519" cy="409566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95" name="Text Placeholder 20">
            <a:extLst>
              <a:ext uri="{FF2B5EF4-FFF2-40B4-BE49-F238E27FC236}">
                <a16:creationId xmlns:a16="http://schemas.microsoft.com/office/drawing/2014/main" id="{2181C55B-5076-4244-A508-087267BD5A2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235927" y="2029845"/>
            <a:ext cx="594519" cy="40956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96" name="Text Placeholder 20">
            <a:extLst>
              <a:ext uri="{FF2B5EF4-FFF2-40B4-BE49-F238E27FC236}">
                <a16:creationId xmlns:a16="http://schemas.microsoft.com/office/drawing/2014/main" id="{9244500B-E9AB-47FF-9B82-F5B2B47F375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235927" y="2678962"/>
            <a:ext cx="594519" cy="409566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97" name="Text Placeholder 20">
            <a:extLst>
              <a:ext uri="{FF2B5EF4-FFF2-40B4-BE49-F238E27FC236}">
                <a16:creationId xmlns:a16="http://schemas.microsoft.com/office/drawing/2014/main" id="{6328853C-990D-4B71-B70F-15EDD2B00D7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235928" y="3328079"/>
            <a:ext cx="594519" cy="40956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98" name="Text Placeholder 20">
            <a:extLst>
              <a:ext uri="{FF2B5EF4-FFF2-40B4-BE49-F238E27FC236}">
                <a16:creationId xmlns:a16="http://schemas.microsoft.com/office/drawing/2014/main" id="{A7A17A6D-3051-48C7-93A2-5847F6C7703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235929" y="3977196"/>
            <a:ext cx="594519" cy="409566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99" name="Text Placeholder 20">
            <a:extLst>
              <a:ext uri="{FF2B5EF4-FFF2-40B4-BE49-F238E27FC236}">
                <a16:creationId xmlns:a16="http://schemas.microsoft.com/office/drawing/2014/main" id="{843DD90F-2A91-4F5E-8EE1-7342A72055B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1235930" y="4626313"/>
            <a:ext cx="594519" cy="40956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200" name="Text Placeholder 20">
            <a:extLst>
              <a:ext uri="{FF2B5EF4-FFF2-40B4-BE49-F238E27FC236}">
                <a16:creationId xmlns:a16="http://schemas.microsoft.com/office/drawing/2014/main" id="{670C18AF-C2C3-4A83-95B5-94F718B762F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235931" y="5275430"/>
            <a:ext cx="594519" cy="409566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201" name="Text Placeholder 20">
            <a:extLst>
              <a:ext uri="{FF2B5EF4-FFF2-40B4-BE49-F238E27FC236}">
                <a16:creationId xmlns:a16="http://schemas.microsoft.com/office/drawing/2014/main" id="{0D5ABBA2-F727-48C5-9FF4-79BF1F5FB70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235927" y="5924549"/>
            <a:ext cx="594519" cy="40955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</p:spTree>
    <p:extLst>
      <p:ext uri="{BB962C8B-B14F-4D97-AF65-F5344CB8AC3E}">
        <p14:creationId xmlns:p14="http://schemas.microsoft.com/office/powerpoint/2010/main" val="2438723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Rows - Mall Sto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49" name="think-cell Slide" r:id="rId89" imgW="360" imgH="360" progId="TCLayout.ActiveDocument.1">
                  <p:embed/>
                </p:oleObj>
              </mc:Choice>
              <mc:Fallback>
                <p:oleObj name="think-cell Slide" r:id="rId89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95B97BE-9A74-47A3-A12B-5E2FD3EA6CCC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5800725"/>
            <a:ext cx="11730037" cy="64928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4503738"/>
            <a:ext cx="11730037" cy="647700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107A95-FE9F-4685-8307-E52B92FCF783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284163" y="3205163"/>
            <a:ext cx="11730037" cy="64928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284163" y="1908175"/>
            <a:ext cx="11730037" cy="647700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590A545E-8318-4FCC-B934-23B5BFA9B540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735013" y="846139"/>
            <a:ext cx="7940675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3ECA137-F55C-410D-BC53-4FFDE96A734A}" type="datetime'''''2''''''''''''''0''''''''2''''''1'''''''">
              <a:rPr kumimoji="0" lang="en-US" altLang="en-US" sz="800" b="1" i="0" u="none" kern="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4C416A67-562A-4DB1-9B3A-5FB4A9491905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8675688" y="846139"/>
            <a:ext cx="333851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BBD25D0-0C34-4D1C-B880-17EA72A87598}" type="datetime'''''''2''''''''0''''''''''''2''''''''''''''''''''''2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F68D6C89-9F09-4423-9C8E-4C02A347C104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735013" y="996950"/>
            <a:ext cx="1112838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481CA06-F751-4BAE-8FE0-1F32B152E57A}" type="datetime'''''''''''J''''''''''u''''''''''''''''''n''''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21022097-919B-4992-9530-A55E0A5F06C0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1847849" y="996950"/>
            <a:ext cx="1150938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D70D978-69A9-4592-92F1-D931A182AB9F}" type="datetime'''J''''''''''''''''u''''''''l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938FFDD9-B2F3-4A20-BF65-CE4A77860976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2998788" y="996950"/>
            <a:ext cx="114935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CF3A17C-C849-4893-92B3-818F03CF8B85}" type="datetime'''A''''''''''''''''u''''''''''''''''''''''''g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8B27CEA3-6517-4334-AF85-935C6835CA82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4148138" y="996950"/>
            <a:ext cx="1112838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D00D94B-9F80-4AB7-9F74-44C85DDE1710}" type="datetime'''''''''''''''''''''''''''''''''''S''e''''''p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EBFE408D-73FC-40D4-8FB8-381F5EAB1510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5260974" y="996950"/>
            <a:ext cx="1150938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C27CF4C-5AF8-4478-B517-4C3208B779D0}" type="datetime'''O''''''''''''''''''''''''''''''''c''''''t''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EB6CA133-0CF4-43B4-B0F6-FE4B9EFFD4C4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6411913" y="996950"/>
            <a:ext cx="1112838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A410E14-1F1A-4F54-BE7A-E0263D41876C}" type="datetime'''''''''''''''N''''''''''''''''''''''o''''''''v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9407217E-0972-4D83-8AF5-2B8088A70EDF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7524750" y="996950"/>
            <a:ext cx="1150938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54826CB-AE79-4DB4-8929-D567BAAD8E69}" type="datetime'''''''D''''''''''''''''''''''''''''''''''''e''''''''''c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A32F7BD9-CFA1-4F86-A90F-B8CDC670E886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8675687" y="996950"/>
            <a:ext cx="114935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572039A-32B2-4070-A8A7-200A7A6DD5E9}" type="datetime'J''''''''''''''''''''''''''''''a''n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7A8C193A-DC80-4546-A4C9-31D6BC479D67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9825038" y="996950"/>
            <a:ext cx="1038225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2139FB9-D42B-4DD9-8288-9EF7578F9684}" type="datetime'''''F''''''''''''''''''e''''''b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BAED419F-0ABC-4E24-AEF2-8B9F53B0715E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10863263" y="996950"/>
            <a:ext cx="1150938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F344968-EB39-4DCB-91AC-38E5A3AB8CA0}" type="datetime'''''''M''''''''''''''a''''''''''''''''''''''r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C9D55E4-0D9A-46F3-B2D2-1EB2578A33CF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735013" y="1147763"/>
            <a:ext cx="18573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EFAE509-8960-44CF-B691-8D24168FD222}" type="datetime'''''''''''''''''''''''''3''''''0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9847A77-19AD-431F-A2E8-14E25E3A5BBA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920750" y="1147763"/>
            <a:ext cx="2587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D375DCF-7335-4092-A48E-589A3BAB762D}" type="datetime'''''''''''0''''''''''''''''''''6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210A08F-5374-4CA0-A46E-80E6E414AE07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1179513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6973D2D-561E-4303-84D3-CF7A12FF5D8B}" type="datetime'''''1''3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63749B2-3428-4F4C-A092-B37EFA809CC1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1439863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D59C1FA-D869-48C8-8C83-0133641E1EA8}" type="datetime'''''''''''''''''''''2''''''''''''''''''''0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4DF0389-C5E5-4E91-A5B9-71F1259A4E6C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700213" y="1147763"/>
            <a:ext cx="2587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12BCEB5-822E-4010-ADA1-8D43DAC22FA9}" type="datetime'''''''''''2''''''''''''''''''''''''''''''''''''''''''''''7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B1D235C-6832-40BF-B99C-6D681289A233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958975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89007C1-74DC-47C5-910C-87685D055793}" type="datetime'''''''''''0''''''''''''''''''''4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4F1D29F-901B-489F-9F82-546BE1DF9FEF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2219325" y="1147763"/>
            <a:ext cx="2587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326886-934A-4194-AD25-12F9C0104A14}" type="datetime'''''''''''1''''''''''''''''''''''''1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2D27E46-D7D2-4F80-AFE4-C6B053F12FE5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2478088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6F1A8A-B4B9-4073-BCAA-A99871451DD1}" type="datetime'''''''1''''''''''''8''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4D61886B-6979-4CB0-AD98-04B705154AA7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2738438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9B5ED42-76D4-4F05-A812-C246AE073390}" type="datetime'''''''2''''5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B1440AD-E76C-451A-8ECF-A3FEEF159094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998788" y="1147763"/>
            <a:ext cx="2587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7A1737-351F-425F-93A0-02668152598B}" type="datetime'''''''''''''''''''''''''''''0''''''1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77E81C4-C3D6-4FF3-9F35-9DB029CB8F0B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3257550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5D6275-9852-479C-A6A2-3E87DA6EA12C}" type="datetime'''''''''''''''''''0''''''''8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7B908E5-F6DF-4C67-8917-2C7ACC944E81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3517900" y="1147763"/>
            <a:ext cx="2587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C71F315-4F46-4A9C-98C4-3915878B0A5E}" type="datetime'''''15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ADABC51-BC1E-43EA-AEC0-7D11281FBDE0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3776663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871F20-DF82-4636-831C-AD230763F6E5}" type="datetime'''''''''''''''''22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FD04432-6E42-4FEB-ACF4-F3336E83A2DD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4037013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93E7EAB-11C9-47AA-8F53-F4339BD7AE64}" type="datetime'''''''''2''''''''''''''''''9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908F446-7F29-490F-8545-2C5ECF3CF6A4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4297363" y="1147763"/>
            <a:ext cx="2587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4126299-6257-4554-843E-48F851838D61}" type="datetime'''''0''''''''5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394E4E2-57C0-4D16-A403-AA4E711104B7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4556125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E8549C2-BF6A-4FF6-A3E8-22AE9F6D6DF5}" type="datetime'''''''''''''''''''''''''''''''1''''''''''''''''''''''''''''2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EA85EAF-69AE-4938-8EF0-5ABABEAA3B62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4816475" y="1147763"/>
            <a:ext cx="2587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9FC7326-2AF8-4C2C-8811-F14C5D89844C}" type="datetime'''''''''''''''''''1''''9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4F2E1BC-2DA4-41F5-B673-A5E183D5C4A1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5075238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60E9EE0-AD90-4B03-8984-64F49DBE5753}" type="datetime'''''''2''''''''''''''''''''''6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D0F6053-7197-4003-A64F-7595CD4744B4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5335588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E20E33-6007-457F-945F-F8338C13F7CE}" type="datetime'''0''''''''''3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FBF83CD9-0761-438E-91FA-FE8F70F8EFD7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5595938" y="1147763"/>
            <a:ext cx="2587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34B8236-8157-4398-A7F6-EBB71091228A}" type="datetime'1''''''''''''''''''''''''''0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F64D294-CB01-49B3-A8D3-91D1FD9599B1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5854700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E1ED04C-3CA0-49FB-959E-F4D001C7F338}" type="datetime'''''1''''''''''''''''''''7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4B0F1C09-68C5-463E-9440-35932BBD67A7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6115050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2BA709C-7231-4EFB-B430-479F4A804C66}" type="datetime'''''''''''''''''''''''''''''''''2''''''''''4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F1680E2-BE14-41B6-8132-FF8D8B85FAE9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6375400" y="1147763"/>
            <a:ext cx="2587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632459C-EF04-4FE2-A423-4563C45B49C4}" type="datetime'''''''''''''''''''''3''''1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41112A8-48F9-40A9-8447-A0048B7802A1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6634163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F55BD91-E39C-49DA-A31B-D7DBA434D33D}" type="datetime'''''''''''''''''''''0''''''''''''7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4161DE0-9451-4D23-8DC0-8E1F5595A8A2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6894513" y="1147763"/>
            <a:ext cx="2587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CCEE4BE-0D7C-4E91-A2E9-A974CE9CEA25}" type="datetime'''''''''''''14''''''''''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9965831-83FF-4785-8A40-0F163FCCC871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7153275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FFC4A36-3EC2-43E3-B2FB-A9051AC1D484}" type="datetime'2''''''''''1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598CF17-FF90-44C2-9F0E-5787DBF203E0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7413625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C8E6888-23C1-482A-90B7-162E0A7BEF78}" type="datetime'''''''2''''''''''''''''''''''''''''8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6BFEDDD-2EA8-47CF-A1A2-4E62A13334B7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7673975" y="1147763"/>
            <a:ext cx="2587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C318539-808B-4707-B949-C7D00C1429AC}" type="datetime'''''''''''0''''''5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56E9A06-8D37-4EA4-929C-8702F65AC9CF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7932738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E5522A0-7D61-4A91-B2CE-37B1498C79E8}" type="datetime'''''''''''''''''''1''''''''''''2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A71DA790-03ED-474D-B7AC-1C2DF384A624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8193088" y="1147763"/>
            <a:ext cx="2587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1B0980-317E-4363-8E8B-3096E3936537}" type="datetime'''''''''''''''''''''1''''''''''9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63D1CB0-4344-4CCE-A71F-4D6366806444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8451850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D4B6546-5D51-4B42-BBDC-8C48FACED03D}" type="datetime'''''''2''''''''''''6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B2F8C6F0-AE5C-4F9E-B050-D85B1C742867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8712200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43A6720-FFEF-4227-9401-698C27346189}" type="datetime'''''''''''''''''''''''0''''''''2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1685E6A8-D716-4F05-AAB2-63DF4A1626B0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8972550" y="1147763"/>
            <a:ext cx="2587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797F8F6-FD17-4F15-945C-BD1CF8B9B3EC}" type="datetime'''''''0''''''''''''9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A33BB2C9-F201-48A8-8A8A-E3A022557587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9231313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7B5CC3E-192F-451E-939C-9D643670136B}" type="datetime'''''''''''''''''''''''''''''''1''''''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45C44BBD-B28C-4C1B-AFBE-EFE1C3C512DD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9491663" y="1147763"/>
            <a:ext cx="2587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E49008C-478B-4D9F-AFE2-8F45CEC3F21F}" type="datetime'''''''''''''''''''''''''''''''2''''''''''''3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2EF5CD5A-CBBC-406A-9240-B82E7E86FD82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9750425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8EAFB68-265C-412B-9AAB-9DE2661C4B30}" type="datetime'''''''''3''''''0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F80858C4-3B74-4A78-9EAC-06AE61686FCB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10010775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351048E-085D-408B-83A4-F4DD3D58DAC0}" type="datetime'''''''''''''''''''''0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4592B127-2ED2-4CE9-8F17-8BC2C8ED8353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10271125" y="1147763"/>
            <a:ext cx="2587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6940812-7D81-4B6E-97FF-EDE5C36FD14B}" type="datetime'''''''1''''''''3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4430B4E7-B2DA-4BAB-AAEC-B297C6E2889A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10529888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9334E16-064A-44EC-AE3F-8618E96780D3}" type="datetime'''''2''0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71F120F0-DA36-4D8F-B8C8-BF4A53A0DDA3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10790238" y="1147763"/>
            <a:ext cx="2587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808A466-A7C1-4E36-89DD-7E37924B6BA3}" type="datetime'''''''''''''''''''''''''''''''''''''''''''''''''2''''7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1EED6CE1-9F8F-4614-87CA-B5F0A2247AF0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11049000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09102AC-2636-4E01-9057-7F96B42E9C14}" type="datetime'''''''''''''''''''''''''''0''''''''''''''''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16BFFE8B-F572-4677-8F39-03D4D2243C5A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11309350" y="1147763"/>
            <a:ext cx="26035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B73C259-BF48-4047-8AC1-757499CD635F}" type="datetime'''''''''''''''''''''''1''''''3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6EEB3DD7-D464-4BFC-A37C-844C203A67D1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11569700" y="1147763"/>
            <a:ext cx="2587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5AA0F1-BBED-406F-B407-09F6C14CBDFF}" type="datetime'20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860BCD37-7966-4FAB-BE28-979001926FAE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11828463" y="1147763"/>
            <a:ext cx="18573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BD27DC4-69D0-4E59-8417-70988800136D}" type="datetime'''''''''''''''''''''''2''''''''''7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64"/>
            </p:custDataLst>
          </p:nvPr>
        </p:nvCxnSpPr>
        <p:spPr bwMode="auto">
          <a:xfrm>
            <a:off x="12014200" y="1258889"/>
            <a:ext cx="0" cy="5191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65"/>
            </p:custDataLst>
          </p:nvPr>
        </p:nvCxnSpPr>
        <p:spPr bwMode="auto">
          <a:xfrm>
            <a:off x="1847850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66"/>
            </p:custDataLst>
          </p:nvPr>
        </p:nvCxnSpPr>
        <p:spPr bwMode="auto">
          <a:xfrm>
            <a:off x="299878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67"/>
            </p:custDataLst>
          </p:nvPr>
        </p:nvCxnSpPr>
        <p:spPr bwMode="auto">
          <a:xfrm>
            <a:off x="414813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62E4FCB-643F-4757-B84D-551AECA901C3}"/>
              </a:ext>
            </a:extLst>
          </p:cNvPr>
          <p:cNvCxnSpPr/>
          <p:nvPr userDrawn="1">
            <p:custDataLst>
              <p:tags r:id="rId68"/>
            </p:custDataLst>
          </p:nvPr>
        </p:nvCxnSpPr>
        <p:spPr bwMode="auto">
          <a:xfrm>
            <a:off x="5260975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7A3DA983-D033-4649-BC02-ECE3BA83E236}"/>
              </a:ext>
            </a:extLst>
          </p:cNvPr>
          <p:cNvCxnSpPr/>
          <p:nvPr userDrawn="1">
            <p:custDataLst>
              <p:tags r:id="rId69"/>
            </p:custDataLst>
          </p:nvPr>
        </p:nvCxnSpPr>
        <p:spPr bwMode="auto">
          <a:xfrm>
            <a:off x="6411913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DF5E5695-9F3F-4F82-8D30-52EBF856E1A1}"/>
              </a:ext>
            </a:extLst>
          </p:cNvPr>
          <p:cNvCxnSpPr/>
          <p:nvPr userDrawn="1">
            <p:custDataLst>
              <p:tags r:id="rId70"/>
            </p:custDataLst>
          </p:nvPr>
        </p:nvCxnSpPr>
        <p:spPr bwMode="auto">
          <a:xfrm>
            <a:off x="7524750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171A3A4-28C0-47D5-A0A0-5D55040D521F}"/>
              </a:ext>
            </a:extLst>
          </p:cNvPr>
          <p:cNvCxnSpPr/>
          <p:nvPr userDrawn="1">
            <p:custDataLst>
              <p:tags r:id="rId71"/>
            </p:custDataLst>
          </p:nvPr>
        </p:nvCxnSpPr>
        <p:spPr bwMode="auto">
          <a:xfrm>
            <a:off x="867568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CED21CB-A6E5-4C73-80B8-990C8F6D95D1}"/>
              </a:ext>
            </a:extLst>
          </p:cNvPr>
          <p:cNvCxnSpPr/>
          <p:nvPr userDrawn="1">
            <p:custDataLst>
              <p:tags r:id="rId72"/>
            </p:custDataLst>
          </p:nvPr>
        </p:nvCxnSpPr>
        <p:spPr bwMode="auto">
          <a:xfrm>
            <a:off x="982503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C4D7238-389F-490D-806D-FE3492EA503F}"/>
              </a:ext>
            </a:extLst>
          </p:cNvPr>
          <p:cNvCxnSpPr/>
          <p:nvPr userDrawn="1">
            <p:custDataLst>
              <p:tags r:id="rId73"/>
            </p:custDataLst>
          </p:nvPr>
        </p:nvCxnSpPr>
        <p:spPr bwMode="auto">
          <a:xfrm>
            <a:off x="10863263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74"/>
            </p:custDataLst>
          </p:nvPr>
        </p:nvCxnSpPr>
        <p:spPr bwMode="auto">
          <a:xfrm>
            <a:off x="735013" y="1258889"/>
            <a:ext cx="0" cy="5191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284163" y="1258889"/>
            <a:ext cx="0" cy="5191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284163" y="190817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284163" y="450373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284163" y="515143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15020D4A-C820-468D-AC28-655067B3B54F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284163" y="255587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3C5B235-0EA1-4CC7-A85E-2729801F59BA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284163" y="5800725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BE25797-5340-4A22-B539-41E82D1FD27D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284163" y="320516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284163" y="385445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284163" y="1258888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85"/>
            </p:custDataLst>
          </p:nvPr>
        </p:nvSpPr>
        <p:spPr bwMode="auto">
          <a:xfrm>
            <a:off x="325438" y="1127125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86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87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1" name="Text Placeholder 20">
            <a:extLst>
              <a:ext uri="{FF2B5EF4-FFF2-40B4-BE49-F238E27FC236}">
                <a16:creationId xmlns:a16="http://schemas.microsoft.com/office/drawing/2014/main" id="{8A203656-D823-4C8D-A056-88696446C4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212329" y="1380727"/>
            <a:ext cx="594519" cy="409566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79" name="Text Placeholder 20">
            <a:extLst>
              <a:ext uri="{FF2B5EF4-FFF2-40B4-BE49-F238E27FC236}">
                <a16:creationId xmlns:a16="http://schemas.microsoft.com/office/drawing/2014/main" id="{35E771E8-0BD5-4B84-9277-2D013140B8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212329" y="2029844"/>
            <a:ext cx="594519" cy="40956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80" name="Text Placeholder 20">
            <a:extLst>
              <a:ext uri="{FF2B5EF4-FFF2-40B4-BE49-F238E27FC236}">
                <a16:creationId xmlns:a16="http://schemas.microsoft.com/office/drawing/2014/main" id="{9EC2304A-343B-4374-AE0B-6D120B18C9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212329" y="2678961"/>
            <a:ext cx="594519" cy="409566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81" name="Text Placeholder 20">
            <a:extLst>
              <a:ext uri="{FF2B5EF4-FFF2-40B4-BE49-F238E27FC236}">
                <a16:creationId xmlns:a16="http://schemas.microsoft.com/office/drawing/2014/main" id="{E85FC741-59C5-4B42-861F-FF9EB1EB27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212330" y="3328078"/>
            <a:ext cx="594519" cy="40956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82" name="Text Placeholder 20">
            <a:extLst>
              <a:ext uri="{FF2B5EF4-FFF2-40B4-BE49-F238E27FC236}">
                <a16:creationId xmlns:a16="http://schemas.microsoft.com/office/drawing/2014/main" id="{3A0338A4-D0DB-4F27-A7F0-3DA23182A0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212331" y="3977195"/>
            <a:ext cx="594519" cy="409566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83" name="Text Placeholder 20">
            <a:extLst>
              <a:ext uri="{FF2B5EF4-FFF2-40B4-BE49-F238E27FC236}">
                <a16:creationId xmlns:a16="http://schemas.microsoft.com/office/drawing/2014/main" id="{695BCB02-2697-47D8-8EAC-227B90DE80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16200000">
            <a:off x="212332" y="4626312"/>
            <a:ext cx="594519" cy="40956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84" name="Text Placeholder 20">
            <a:extLst>
              <a:ext uri="{FF2B5EF4-FFF2-40B4-BE49-F238E27FC236}">
                <a16:creationId xmlns:a16="http://schemas.microsoft.com/office/drawing/2014/main" id="{19EE7D1F-E0B2-4FAD-9846-CCAE905F418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16200000">
            <a:off x="212333" y="5275429"/>
            <a:ext cx="594519" cy="409566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85" name="Text Placeholder 20">
            <a:extLst>
              <a:ext uri="{FF2B5EF4-FFF2-40B4-BE49-F238E27FC236}">
                <a16:creationId xmlns:a16="http://schemas.microsoft.com/office/drawing/2014/main" id="{6E825163-3CC1-4FE1-8766-E22CB36F40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16200000">
            <a:off x="212329" y="5924548"/>
            <a:ext cx="594519" cy="40955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</p:spTree>
    <p:extLst>
      <p:ext uri="{BB962C8B-B14F-4D97-AF65-F5344CB8AC3E}">
        <p14:creationId xmlns:p14="http://schemas.microsoft.com/office/powerpoint/2010/main" val="1454063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b 3.0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3" name="think-cell Slide" r:id="rId100" imgW="360" imgH="360" progId="TCLayout.ActiveDocument.1">
                  <p:embed/>
                </p:oleObj>
              </mc:Choice>
              <mc:Fallback>
                <p:oleObj name="think-cell Slide" r:id="rId100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2255839"/>
            <a:ext cx="11730037" cy="171291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9B595E6-7410-469D-BEA3-70B6D8798B58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5965825"/>
            <a:ext cx="11730037" cy="48418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BDA1BA91-1423-4E17-9686-E306F14FC35E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735013" y="846139"/>
            <a:ext cx="6613525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830EB93-C22E-4636-A5C5-86C7A7397614}" type="datetime'2''''''''''''''''''''''''''''''''''''''0''2''''''''''''1'''''">
              <a:rPr kumimoji="0" lang="en-US" altLang="en-US" sz="800" b="1" i="0" u="none" kern="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04BCA0F7-9B05-419F-A101-5D1A30D8E8FC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7348538" y="846139"/>
            <a:ext cx="466566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03D5A1D-5D5F-40F6-8BA5-21B0360E24BA}" type="datetime'''''''2''0''''''''''''''''''''''''22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F68D6C89-9F09-4423-9C8E-4C02A347C104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735013" y="996950"/>
            <a:ext cx="9271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481CA06-F751-4BAE-8FE0-1F32B152E57A}" type="datetime'''''''''''J''''''''''u''''''''''''''''''n''''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21022097-919B-4992-9530-A55E0A5F06C0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1662113" y="996950"/>
            <a:ext cx="957263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D70D978-69A9-4592-92F1-D931A182AB9F}" type="datetime'''J''''''''''''''''u''''''''l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938FFDD9-B2F3-4A20-BF65-CE4A77860976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2619375" y="996950"/>
            <a:ext cx="95885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CF3A17C-C849-4893-92B3-818F03CF8B85}" type="datetime'''A''''''''''''''''u''''''''''''''''''''''''g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8B27CEA3-6517-4334-AF85-935C6835CA82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3578225" y="996950"/>
            <a:ext cx="9271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D00D94B-9F80-4AB7-9F74-44C85DDE1710}" type="datetime'''''''''''''''''''''''''''''''''''S''e''''''p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EBFE408D-73FC-40D4-8FB8-381F5EAB1510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4505325" y="996950"/>
            <a:ext cx="957263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C27CF4C-5AF8-4478-B517-4C3208B779D0}" type="datetime'''O''''''''''''''''''''''''''''''''c''''''t''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EB6CA133-0CF4-43B4-B0F6-FE4B9EFFD4C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5462587" y="996950"/>
            <a:ext cx="9271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A410E14-1F1A-4F54-BE7A-E0263D41876C}" type="datetime'''''''''''''''N''''''''''''''''''''''o''''''''v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9407217E-0972-4D83-8AF5-2B8088A70EDF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6389688" y="996950"/>
            <a:ext cx="95885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54826CB-AE79-4DB4-8929-D567BAAD8E69}" type="datetime'''''''D''''''''''''''''''''''''''''''''''''e''''''''''c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88DDA94F-B456-4F68-B532-98C7C32A8A27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7348538" y="996950"/>
            <a:ext cx="957263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C16A44A-ED2B-49E2-9A52-EF7E1BB7678B}" type="datetime'''''''''''''''''Ja''''''''''n''''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E324879B-70CF-443B-9055-5C31E37AA1E8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8305799" y="996950"/>
            <a:ext cx="865188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16AF525-3461-4D92-AAC9-23A754723D49}" type="datetime'''''''''''F''''''e''''''''''''''''''''''''''''b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DF4AA7B2-E71C-4F29-8528-E2658898E399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9170988" y="996950"/>
            <a:ext cx="95885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3CFD8AB-1179-40B2-8775-621C3424A037}" type="datetime'''''M''''''''''''''''''a''''''r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B2250BC4-8709-48D3-9B8F-57C2D16044B1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10129838" y="996950"/>
            <a:ext cx="9271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F019D97-B27D-414E-A95F-1200ECCB2E76}" type="datetime'''''''''''''''''''''''''A''p''''''''''r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F7A4C627-310F-4BC9-BC17-2D6F2F0C45A4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11056938" y="996950"/>
            <a:ext cx="957263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02F04C7-6352-4416-9C06-B4FBE791FEC0}" type="datetime'M''a''''''''''''''''''y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B631FD13-492E-47DA-AD5B-699EF94BFBA9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735013" y="1147764"/>
            <a:ext cx="1539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38179D1-7A98-4F7D-A47A-5C28708D552E}" type="datetime'''''''''''''''''''''''''3''''''0''''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5C16672E-AC30-4B1D-9485-9E1D4E91C8E2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889000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5203924-AA81-4971-8248-12E609C7D4B0}" type="datetime'''''''''''0''''''''''''''''''''6''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7991B702-BF10-4C2A-8C05-E1F4CDDBAFAF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1106488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CF36F76-7661-42E2-A6FB-FDAF30541037}" type="datetime'''''1''3''''''''''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1A2521F0-5343-4D2D-B879-28E2E7C9DA75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1322388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14C04BA-49E2-4EAD-AB72-DE12511C70CE}" type="datetime'''''''''''''''''''''2''''''''''''''''''''0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6217A3C2-EB13-4E2D-BAFC-8F4B19E2A244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538288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5A9D48F-E096-4081-ABDF-3EC1EFA97137}" type="datetime'''''''''''2''''''''''''''''''''''''''''''''''''''''''''''7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A02F7A52-2181-45AD-A777-F4D86DA47B8C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754188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1964FC1-929C-42FF-A100-92E6C5478BD1}" type="datetime'''''''''''0''''''''''''''''''''4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4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91A4BBF6-7B81-4D51-8043-6B595660E664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1971675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96F27E7-5743-4FAD-A5A5-43EE4E27E997}" type="datetime'''''''''''1''''''''''''''''''''''''1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F46807A1-0033-4FB3-B174-891C828F3EC6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2187575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861B22E-D98E-426E-B51A-35F4F44097DB}" type="datetime'''''''1''''''''''''8''''''''''''''''''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FD708C91-CD28-4C5E-A796-DE096002FBE0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2403475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E1D3EAD-8E09-4F56-88D3-7D591C3954BA}" type="datetime'''''''2''''5''''''''''''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E9F0A183-08F8-4C6B-A950-F013FC9546E3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619375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1D33368-A456-4B98-9D5E-87A0356A34EF}" type="datetime'''''''''''''''''''''''''''''0''''''1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1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89DC357B-9A65-4E11-87E4-61B41917E4CD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836863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9C30F8C-920D-4DAF-8340-E6CF989B4A2F}" type="datetime'''''''''''''''''''0''''''''8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8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7AEF2979-289B-4729-A76C-FC054B4DD79E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3052763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2AB0CF6-16F6-4B25-871E-B5EA5C434EE7}" type="datetime'''''15''''''''''''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6" name="Rectangle 575">
            <a:extLst>
              <a:ext uri="{FF2B5EF4-FFF2-40B4-BE49-F238E27FC236}">
                <a16:creationId xmlns:a16="http://schemas.microsoft.com/office/drawing/2014/main" id="{AC5A9B61-020D-447D-A8F2-DC01847676A4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3268663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2EE8B48-3F3B-46F5-8F20-AC145E3E7ADE}" type="datetime'''''''''''''''''22''''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7" name="Rectangle 576">
            <a:extLst>
              <a:ext uri="{FF2B5EF4-FFF2-40B4-BE49-F238E27FC236}">
                <a16:creationId xmlns:a16="http://schemas.microsoft.com/office/drawing/2014/main" id="{AE11D0A8-6F3D-45CD-AC8D-D4E9CD2A5027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3484563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644771D-80DE-4E2A-9CFC-B2DCF722F6B0}" type="datetime'''''''''2''''''''''''''''''9''''''''''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8" name="Rectangle 577">
            <a:extLst>
              <a:ext uri="{FF2B5EF4-FFF2-40B4-BE49-F238E27FC236}">
                <a16:creationId xmlns:a16="http://schemas.microsoft.com/office/drawing/2014/main" id="{E84CEEAE-748B-4A5D-9CE4-59FDA745DCCB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702050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32C0651-1534-4375-BC90-F508A7F928F5}" type="datetime'''''0''''''''5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9" name="Rectangle 578">
            <a:extLst>
              <a:ext uri="{FF2B5EF4-FFF2-40B4-BE49-F238E27FC236}">
                <a16:creationId xmlns:a16="http://schemas.microsoft.com/office/drawing/2014/main" id="{E915CC4E-3588-48E8-801B-E5A21F9BA038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917950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2E0B4F5-CE0A-4B81-8782-05E89A9235E0}" type="datetime'''''''''''''''''''''''''''''''1''''''''''''''''''''''''''''2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0" name="Rectangle 579">
            <a:extLst>
              <a:ext uri="{FF2B5EF4-FFF2-40B4-BE49-F238E27FC236}">
                <a16:creationId xmlns:a16="http://schemas.microsoft.com/office/drawing/2014/main" id="{8BD8E39E-A736-4CFA-9AF5-69B89476FD77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4133850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C107AD7-F379-4249-9533-750C77698308}" type="datetime'''''''''''''''''''1''''9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1" name="Rectangle 580">
            <a:extLst>
              <a:ext uri="{FF2B5EF4-FFF2-40B4-BE49-F238E27FC236}">
                <a16:creationId xmlns:a16="http://schemas.microsoft.com/office/drawing/2014/main" id="{1E8BFDA2-AB8D-4832-A2E9-BCEF9DCBF2B5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4349750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B0F69BD-8B28-49DF-9E85-0F15F55CDFDD}" type="datetime'''''''2''''''''''''''''''''''6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2" name="Rectangle 581">
            <a:extLst>
              <a:ext uri="{FF2B5EF4-FFF2-40B4-BE49-F238E27FC236}">
                <a16:creationId xmlns:a16="http://schemas.microsoft.com/office/drawing/2014/main" id="{35526FC2-6420-4A06-9A62-623CFC4EBFB7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567238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DABC0EB-BEC3-4D75-A96E-4CDF3B4D9AD3}" type="datetime'''0''''''''''3''''''''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3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3" name="Rectangle 582">
            <a:extLst>
              <a:ext uri="{FF2B5EF4-FFF2-40B4-BE49-F238E27FC236}">
                <a16:creationId xmlns:a16="http://schemas.microsoft.com/office/drawing/2014/main" id="{83770C8B-0653-41CA-8DC1-4E9833E7A002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783138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724AEA9-E28C-41DB-B8D2-35BEE6C648AE}" type="datetime'1''''''''''''''''''''''''''0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4" name="Rectangle 583">
            <a:extLst>
              <a:ext uri="{FF2B5EF4-FFF2-40B4-BE49-F238E27FC236}">
                <a16:creationId xmlns:a16="http://schemas.microsoft.com/office/drawing/2014/main" id="{BEE45DF8-E9DA-4353-90D2-CE99F068C6A4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4999038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A13F01-4894-412D-8A35-B5073D2BCF77}" type="datetime'''''1''''''''''''''''''''7''''''''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5" name="Rectangle 584">
            <a:extLst>
              <a:ext uri="{FF2B5EF4-FFF2-40B4-BE49-F238E27FC236}">
                <a16:creationId xmlns:a16="http://schemas.microsoft.com/office/drawing/2014/main" id="{19D1EC56-0753-4E5F-8673-9580B4FD997F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5216525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DC98AC0-4E9A-4427-A16B-B020A6860AEE}" type="datetime'''''''''''''''''''''''''''''''''2''''''''''4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6" name="Rectangle 585">
            <a:extLst>
              <a:ext uri="{FF2B5EF4-FFF2-40B4-BE49-F238E27FC236}">
                <a16:creationId xmlns:a16="http://schemas.microsoft.com/office/drawing/2014/main" id="{654CD186-E888-43BE-8548-F09F8A4E3EE3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5432425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982C264-B441-4F84-B38C-729E16BF90FC}" type="datetime'''''''''''''''''''''3''''1''''''''''''''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7" name="Rectangle 586">
            <a:extLst>
              <a:ext uri="{FF2B5EF4-FFF2-40B4-BE49-F238E27FC236}">
                <a16:creationId xmlns:a16="http://schemas.microsoft.com/office/drawing/2014/main" id="{FDC37596-1207-4BCE-B786-A05B477B6BE3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648325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EABADE8-ECD1-4858-A8DA-F5300CF38ED4}" type="datetime'''''''''''''''''''''0''''''''''''7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7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8" name="Rectangle 587">
            <a:extLst>
              <a:ext uri="{FF2B5EF4-FFF2-40B4-BE49-F238E27FC236}">
                <a16:creationId xmlns:a16="http://schemas.microsoft.com/office/drawing/2014/main" id="{C5DA2E9E-769A-4DB6-8786-EC31ADE0B860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864225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FAE0336-4B65-437F-9187-9F3F3F166FDC}" type="datetime'''''''''''''14''''''''''''''''''''''''''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9" name="Rectangle 588">
            <a:extLst>
              <a:ext uri="{FF2B5EF4-FFF2-40B4-BE49-F238E27FC236}">
                <a16:creationId xmlns:a16="http://schemas.microsoft.com/office/drawing/2014/main" id="{767B4D87-8C6B-4E41-B701-96D9B92F2753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6081713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8C609FD-D454-4EAB-AE23-6143C9DAC202}" type="datetime'2''''''''''1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0" name="Rectangle 589">
            <a:extLst>
              <a:ext uri="{FF2B5EF4-FFF2-40B4-BE49-F238E27FC236}">
                <a16:creationId xmlns:a16="http://schemas.microsoft.com/office/drawing/2014/main" id="{96F0386D-9C73-421F-A6B6-618B64AE5FC0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6297613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7508231-6B02-4A3C-9DA2-BBBD18642D4F}" type="datetime'''''''2''''''''''''''''''''''''''''8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1" name="Rectangle 590">
            <a:extLst>
              <a:ext uri="{FF2B5EF4-FFF2-40B4-BE49-F238E27FC236}">
                <a16:creationId xmlns:a16="http://schemas.microsoft.com/office/drawing/2014/main" id="{04997E21-9C6F-4E72-A202-C29CF37D32FF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6513513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D740B16-2FBC-44E0-A99B-83949FFF238D}" type="datetime'''''''''''0''''''5''''''''''''''''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2" name="Rectangle 591">
            <a:extLst>
              <a:ext uri="{FF2B5EF4-FFF2-40B4-BE49-F238E27FC236}">
                <a16:creationId xmlns:a16="http://schemas.microsoft.com/office/drawing/2014/main" id="{684A9C0D-5CA4-4780-900E-8C8D307F2DB5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729413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A1485E1-2B90-459E-9DB4-1B111926D978}" type="datetime'''''''''''''''''''1''''''''''''2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3" name="Rectangle 592">
            <a:extLst>
              <a:ext uri="{FF2B5EF4-FFF2-40B4-BE49-F238E27FC236}">
                <a16:creationId xmlns:a16="http://schemas.microsoft.com/office/drawing/2014/main" id="{35F9885E-D85D-47E5-BEB7-6A8F4999935C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6946900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1B6D363-2869-470F-825E-E9ACFB723B7D}" type="datetime'''''''''''''''''''''1''''''''''9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4" name="Rectangle 593">
            <a:extLst>
              <a:ext uri="{FF2B5EF4-FFF2-40B4-BE49-F238E27FC236}">
                <a16:creationId xmlns:a16="http://schemas.microsoft.com/office/drawing/2014/main" id="{4D886913-2A6E-454E-B7A6-D66ED171B0B8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7162800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C3D2A5-3F9D-4CC5-AA2B-9A49F59CDE29}" type="datetime'''''''2''''''''''''6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5" name="Rectangle 594">
            <a:extLst>
              <a:ext uri="{FF2B5EF4-FFF2-40B4-BE49-F238E27FC236}">
                <a16:creationId xmlns:a16="http://schemas.microsoft.com/office/drawing/2014/main" id="{C6BBCA36-DA30-4273-8C79-81C536AA3CB7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7378700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02D75B6-64F3-4352-B096-876EDF6F6612}" type="datetime'''''0''''''''''''''''2''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2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6" name="Rectangle 595">
            <a:extLst>
              <a:ext uri="{FF2B5EF4-FFF2-40B4-BE49-F238E27FC236}">
                <a16:creationId xmlns:a16="http://schemas.microsoft.com/office/drawing/2014/main" id="{C3519281-047F-4B05-83D5-6FF00012BD2C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594600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E804FD0-F646-4F51-8B92-E83F47C89E18}" type="datetime'''''''''''''''''''09''''''''''''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9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7" name="Rectangle 596">
            <a:extLst>
              <a:ext uri="{FF2B5EF4-FFF2-40B4-BE49-F238E27FC236}">
                <a16:creationId xmlns:a16="http://schemas.microsoft.com/office/drawing/2014/main" id="{61F8B9A3-4654-44E5-84D0-927134E12B06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812088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7258DD2-7C2F-48C1-9B9A-2248781CB828}" type="datetime'''''''''''''''''''1''''''''''''''''6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8" name="Rectangle 597">
            <a:extLst>
              <a:ext uri="{FF2B5EF4-FFF2-40B4-BE49-F238E27FC236}">
                <a16:creationId xmlns:a16="http://schemas.microsoft.com/office/drawing/2014/main" id="{ED53D429-EE58-465F-BE67-FB911DA7E33C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8027988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507F04B-AA88-479E-9182-9AC6F93F764D}" type="datetime'''''''''''''''''''''''''''''''''''''''''''''2''''''''3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9" name="Rectangle 598">
            <a:extLst>
              <a:ext uri="{FF2B5EF4-FFF2-40B4-BE49-F238E27FC236}">
                <a16:creationId xmlns:a16="http://schemas.microsoft.com/office/drawing/2014/main" id="{8E017466-2D9C-4C43-B344-288CE047A2E2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8243888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A6085CC-A6B8-4078-85CF-F89740A46F2E}" type="datetime'''''''''''''''3''''''''''''''0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0" name="Rectangle 599">
            <a:extLst>
              <a:ext uri="{FF2B5EF4-FFF2-40B4-BE49-F238E27FC236}">
                <a16:creationId xmlns:a16="http://schemas.microsoft.com/office/drawing/2014/main" id="{21532760-832C-4320-A4D9-EA1C5BB10198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8459788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007C60C-221A-4086-AAF0-B1B850410FBC}" type="datetime'''0''''''''''''''6''''''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1" name="Rectangle 600">
            <a:extLst>
              <a:ext uri="{FF2B5EF4-FFF2-40B4-BE49-F238E27FC236}">
                <a16:creationId xmlns:a16="http://schemas.microsoft.com/office/drawing/2014/main" id="{5B3472A1-7CF1-421A-BFCA-EEDCA97B19A5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677275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7F71D72-AC92-4322-9A55-BE1081E9060E}" type="datetime'''''''''''''''''''''''''''''''''''''''''''''''1''''3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2" name="Rectangle 601">
            <a:extLst>
              <a:ext uri="{FF2B5EF4-FFF2-40B4-BE49-F238E27FC236}">
                <a16:creationId xmlns:a16="http://schemas.microsoft.com/office/drawing/2014/main" id="{6B305240-15F1-41B9-8653-CADCA6926299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893175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4067D16-E355-4598-9F9C-A588CE53B0C3}" type="datetime'''''''''''''''''''''2''''''''''''''''''0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3" name="Rectangle 602">
            <a:extLst>
              <a:ext uri="{FF2B5EF4-FFF2-40B4-BE49-F238E27FC236}">
                <a16:creationId xmlns:a16="http://schemas.microsoft.com/office/drawing/2014/main" id="{A5FA37B4-2580-4622-92C7-6C7E32C15323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9109075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314A6F-DA13-4688-BD99-B9A19F013ACE}" type="datetime'''''''''''''''''''''''''''''2''''''''''7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4" name="Rectangle 603">
            <a:extLst>
              <a:ext uri="{FF2B5EF4-FFF2-40B4-BE49-F238E27FC236}">
                <a16:creationId xmlns:a16="http://schemas.microsoft.com/office/drawing/2014/main" id="{D9EB7CCE-6BD6-4924-82B4-B8C746D9ADAE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9324975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4301811-5152-4446-94F7-F3DE31A5F4A5}" type="datetime'''''''''0''''6''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5" name="Rectangle 604">
            <a:extLst>
              <a:ext uri="{FF2B5EF4-FFF2-40B4-BE49-F238E27FC236}">
                <a16:creationId xmlns:a16="http://schemas.microsoft.com/office/drawing/2014/main" id="{CE7C83AF-7E21-4661-B80A-F772D6EFDE4F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9542463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912F7F2-0FDD-4207-A00A-CA225AD2E441}" type="datetime'''''''''''1''''''''''''''''3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6" name="Rectangle 605">
            <a:extLst>
              <a:ext uri="{FF2B5EF4-FFF2-40B4-BE49-F238E27FC236}">
                <a16:creationId xmlns:a16="http://schemas.microsoft.com/office/drawing/2014/main" id="{46788653-4DA8-4C9A-8522-5D72C4EE30C3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758363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8464AB3-32C3-4229-A20A-F9BD1105D591}" type="datetime'''''''''2''''''''''0''''''''''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7" name="Rectangle 606">
            <a:extLst>
              <a:ext uri="{FF2B5EF4-FFF2-40B4-BE49-F238E27FC236}">
                <a16:creationId xmlns:a16="http://schemas.microsoft.com/office/drawing/2014/main" id="{A7C9B87C-B7DC-4289-B4DC-8CFF83D53862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9974263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82FDD82-462F-446C-8A39-474280360C9E}" type="datetime'''''''''''''''''''2''''7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8" name="Rectangle 607">
            <a:extLst>
              <a:ext uri="{FF2B5EF4-FFF2-40B4-BE49-F238E27FC236}">
                <a16:creationId xmlns:a16="http://schemas.microsoft.com/office/drawing/2014/main" id="{6B83D934-BE3F-4505-A05C-65B5FA92554F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10191750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C71C429-78C5-4F24-BB52-6A50835D6ECB}" type="datetime'''''''''''''''''''''''''''''''''''''''''0''''3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3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9" name="Rectangle 608">
            <a:extLst>
              <a:ext uri="{FF2B5EF4-FFF2-40B4-BE49-F238E27FC236}">
                <a16:creationId xmlns:a16="http://schemas.microsoft.com/office/drawing/2014/main" id="{03D0E924-CCB7-4621-AD8A-755C6D00AAC3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10407650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A106A47-A7A3-4FA4-AB58-E4759B6521E2}" type="datetime'''''''10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0" name="Rectangle 609">
            <a:extLst>
              <a:ext uri="{FF2B5EF4-FFF2-40B4-BE49-F238E27FC236}">
                <a16:creationId xmlns:a16="http://schemas.microsoft.com/office/drawing/2014/main" id="{5B54CA20-FE8B-44B4-9182-5B6774355F7C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623550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EACD024-E4F8-4BC2-84AA-7530BB0F1E09}" type="datetime'''''''''''''''''''''''''1''''''''''''''''7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1" name="Rectangle 610">
            <a:extLst>
              <a:ext uri="{FF2B5EF4-FFF2-40B4-BE49-F238E27FC236}">
                <a16:creationId xmlns:a16="http://schemas.microsoft.com/office/drawing/2014/main" id="{B7AD475D-5CED-4458-A149-067FCEFAA4A0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839450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A96DF93-E0B9-4EFB-A8DB-38FC15F6E140}" type="datetime'''''2''''''''''''4''''''''''''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2" name="Rectangle 611">
            <a:extLst>
              <a:ext uri="{FF2B5EF4-FFF2-40B4-BE49-F238E27FC236}">
                <a16:creationId xmlns:a16="http://schemas.microsoft.com/office/drawing/2014/main" id="{923703A1-42C8-4870-BEAA-5A81A4C48F74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1056938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8464087-A1FD-49C2-84B6-46C8411F703C}" type="datetime'0''''''''''''''''''''''''''''1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1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7" name="Rectangle 616">
            <a:extLst>
              <a:ext uri="{FF2B5EF4-FFF2-40B4-BE49-F238E27FC236}">
                <a16:creationId xmlns:a16="http://schemas.microsoft.com/office/drawing/2014/main" id="{4535727F-26A0-411B-891F-1F5BACB63E2E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1272838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F8869A1-1328-4241-9EE1-09209580EE89}" type="datetime'''0''''''''''8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8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8" name="Rectangle 617">
            <a:extLst>
              <a:ext uri="{FF2B5EF4-FFF2-40B4-BE49-F238E27FC236}">
                <a16:creationId xmlns:a16="http://schemas.microsoft.com/office/drawing/2014/main" id="{FDF30185-CA16-415D-A946-0C19DFE4E8CF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1488738" y="1147764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74F4867-CC86-4677-9E81-2B62A3194040}" type="datetime'''1''''''5''''''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9" name="Rectangle 618">
            <a:extLst>
              <a:ext uri="{FF2B5EF4-FFF2-40B4-BE49-F238E27FC236}">
                <a16:creationId xmlns:a16="http://schemas.microsoft.com/office/drawing/2014/main" id="{880ABDFA-D80A-4444-A587-645D7A2719FB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704638" y="1147764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78CDC2E-82D8-4839-8BAB-B351F62A9DD4}" type="datetime'''''''''''''''''''''''''''''''''''''2''''''''''''''''''''2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0" name="Rectangle 619">
            <a:extLst>
              <a:ext uri="{FF2B5EF4-FFF2-40B4-BE49-F238E27FC236}">
                <a16:creationId xmlns:a16="http://schemas.microsoft.com/office/drawing/2014/main" id="{D5ED734D-1086-4A52-A109-B1B18465560F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11922126" y="1147764"/>
            <a:ext cx="920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5DF385-8884-4883-B9DE-590206105F95}" type="datetime'''''''''''''''''''''''''''''''''2''''9'''''''''''''''''''">
              <a:rPr kumimoji="0" lang="en-US" altLang="en-US" sz="600" b="0" i="0" u="none" kern="120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kumimoji="0" lang="en-US" sz="600" b="0" i="0" u="none" kern="120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73"/>
            </p:custDataLst>
          </p:nvPr>
        </p:nvCxnSpPr>
        <p:spPr bwMode="auto">
          <a:xfrm>
            <a:off x="12014200" y="1258889"/>
            <a:ext cx="0" cy="5191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EFF88AC-4D58-4516-87AF-4DA142E75EF5}"/>
              </a:ext>
            </a:extLst>
          </p:cNvPr>
          <p:cNvCxnSpPr/>
          <p:nvPr userDrawn="1">
            <p:custDataLst>
              <p:tags r:id="rId74"/>
            </p:custDataLst>
          </p:nvPr>
        </p:nvCxnSpPr>
        <p:spPr bwMode="auto">
          <a:xfrm>
            <a:off x="1105693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4F37507-4533-4018-94A6-BECC8490AEEE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1012983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2BA9987-8498-452F-BA8C-36E0B9AE271F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917098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1EE2E26-46D2-4C0C-8E4E-C1A6F7D77438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734853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284163" y="1258889"/>
            <a:ext cx="0" cy="5191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62E4FCB-643F-4757-B84D-551AECA901C3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4505325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735013" y="1258889"/>
            <a:ext cx="0" cy="5191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DF5E5695-9F3F-4F82-8D30-52EBF856E1A1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638968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7A3DA983-D033-4649-BC02-ECE3BA83E236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546258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A883574-8C71-4DF1-9F3C-79C2B1AAE4AD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8305800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1662113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3578225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2619375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284163" y="225583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15020D4A-C820-468D-AC28-655067B3B54F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284163" y="396875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596582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1258888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D1CBA368-16EC-4ED4-AB96-8313C246EEB2}"/>
              </a:ext>
            </a:extLst>
          </p:cNvPr>
          <p:cNvSpPr/>
          <p:nvPr userDrawn="1">
            <p:custDataLst>
              <p:tags r:id="rId92"/>
            </p:custDataLst>
          </p:nvPr>
        </p:nvSpPr>
        <p:spPr bwMode="auto">
          <a:xfrm>
            <a:off x="325438" y="2282825"/>
            <a:ext cx="244475" cy="1660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0" i="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w 2                                                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sz="800" b="0" i="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              </a:t>
            </a:r>
            <a:endParaRPr kumimoji="0" lang="en-US" sz="800" b="0" i="0" u="none" cap="none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A9F03F-514D-47CF-A801-701AA479CC4C}"/>
              </a:ext>
            </a:extLst>
          </p:cNvPr>
          <p:cNvSpPr/>
          <p:nvPr userDrawn="1">
            <p:custDataLst>
              <p:tags r:id="rId93"/>
            </p:custDataLst>
          </p:nvPr>
        </p:nvSpPr>
        <p:spPr bwMode="auto">
          <a:xfrm>
            <a:off x="325438" y="3994150"/>
            <a:ext cx="244475" cy="19462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0" i="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w 3                                                          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sz="800" b="0" i="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                </a:t>
            </a:r>
            <a:endParaRPr kumimoji="0" lang="en-US" sz="800" b="0" i="0" u="none" cap="none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41F9654D-2BBE-48C7-A406-F1618A5D149E}"/>
              </a:ext>
            </a:extLst>
          </p:cNvPr>
          <p:cNvSpPr/>
          <p:nvPr userDrawn="1">
            <p:custDataLst>
              <p:tags r:id="rId94"/>
            </p:custDataLst>
          </p:nvPr>
        </p:nvSpPr>
        <p:spPr bwMode="auto">
          <a:xfrm>
            <a:off x="325438" y="5992813"/>
            <a:ext cx="122238" cy="431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80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w 4     </a:t>
            </a:r>
            <a:endParaRPr kumimoji="0" lang="en-US" sz="800" b="0" i="0" u="none" cap="none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95"/>
            </p:custDataLst>
          </p:nvPr>
        </p:nvSpPr>
        <p:spPr bwMode="auto">
          <a:xfrm>
            <a:off x="325438" y="1127125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0AC7D9D-0BCF-40A1-943C-B3C03907DDB6}"/>
              </a:ext>
            </a:extLst>
          </p:cNvPr>
          <p:cNvSpPr/>
          <p:nvPr userDrawn="1">
            <p:custDataLst>
              <p:tags r:id="rId96"/>
            </p:custDataLst>
          </p:nvPr>
        </p:nvSpPr>
        <p:spPr bwMode="auto">
          <a:xfrm>
            <a:off x="325438" y="1284288"/>
            <a:ext cx="122238" cy="9461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kumimoji="0" lang="en-US" sz="800" b="0" i="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w 1                       </a:t>
            </a:r>
            <a:endParaRPr kumimoji="0" lang="en-US" sz="800" b="0" i="0" u="none" cap="none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97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98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4" name="Rectangle 253">
            <a:extLst>
              <a:ext uri="{FF2B5EF4-FFF2-40B4-BE49-F238E27FC236}">
                <a16:creationId xmlns:a16="http://schemas.microsoft.com/office/drawing/2014/main" id="{C3E25C4B-F0E5-45D0-9ED7-247625BBDF10}"/>
              </a:ext>
            </a:extLst>
          </p:cNvPr>
          <p:cNvSpPr/>
          <p:nvPr userDrawn="1"/>
        </p:nvSpPr>
        <p:spPr>
          <a:xfrm>
            <a:off x="325438" y="1357313"/>
            <a:ext cx="366713" cy="58713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 err="1">
              <a:solidFill>
                <a:schemeClr val="tx1"/>
              </a:solidFill>
            </a:endParaRPr>
          </a:p>
        </p:txBody>
      </p:sp>
      <p:sp>
        <p:nvSpPr>
          <p:cNvPr id="255" name="Text Placeholder 20">
            <a:extLst>
              <a:ext uri="{FF2B5EF4-FFF2-40B4-BE49-F238E27FC236}">
                <a16:creationId xmlns:a16="http://schemas.microsoft.com/office/drawing/2014/main" id="{01F2545A-F8F3-4C9C-9500-1241645F0DB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21862" y="1570196"/>
            <a:ext cx="975897" cy="372333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256" name="Text Placeholder 20">
            <a:extLst>
              <a:ext uri="{FF2B5EF4-FFF2-40B4-BE49-F238E27FC236}">
                <a16:creationId xmlns:a16="http://schemas.microsoft.com/office/drawing/2014/main" id="{624353BE-9E57-4630-BB29-B753326239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-463327" y="4790060"/>
            <a:ext cx="1946276" cy="372333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257" name="Text Placeholder 20">
            <a:extLst>
              <a:ext uri="{FF2B5EF4-FFF2-40B4-BE49-F238E27FC236}">
                <a16:creationId xmlns:a16="http://schemas.microsoft.com/office/drawing/2014/main" id="{670D1E4F-1EC0-4136-AFA2-4A3FDE22D9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-320450" y="2935626"/>
            <a:ext cx="1660526" cy="372333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258" name="Text Placeholder 20">
            <a:extLst>
              <a:ext uri="{FF2B5EF4-FFF2-40B4-BE49-F238E27FC236}">
                <a16:creationId xmlns:a16="http://schemas.microsoft.com/office/drawing/2014/main" id="{18CE9281-5F5B-46FC-ABBA-F3F13C56D2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293120" y="6023340"/>
            <a:ext cx="433388" cy="372333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</p:spTree>
    <p:extLst>
      <p:ext uri="{BB962C8B-B14F-4D97-AF65-F5344CB8AC3E}">
        <p14:creationId xmlns:p14="http://schemas.microsoft.com/office/powerpoint/2010/main" val="1964590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CM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7" name="think-cell Slide" r:id="rId99" imgW="360" imgH="360" progId="TCLayout.ActiveDocument.1">
                  <p:embed/>
                </p:oleObj>
              </mc:Choice>
              <mc:Fallback>
                <p:oleObj name="think-cell Slide" r:id="rId99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007FCC1-BEF7-4884-BA2A-535DACB74AEE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3854450"/>
            <a:ext cx="11730037" cy="86518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2124075"/>
            <a:ext cx="11730037" cy="86518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344035A-BDAE-4545-8B58-F6D1E8DC7AA4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284163" y="5584825"/>
            <a:ext cx="11730037" cy="86518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590A545E-8318-4FCC-B934-23B5BFA9B540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735013" y="846139"/>
            <a:ext cx="6613525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3ECA137-F55C-410D-BC53-4FFDE96A734A}" type="datetime'''''2''''''''''''''0''''''''2''''''1'''''''">
              <a:rPr kumimoji="0" lang="en-US" altLang="en-US" sz="800" b="1" i="0" u="none" kern="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4C416A67-562A-4DB1-9B3A-5FB4A9491905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7348538" y="846139"/>
            <a:ext cx="466566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BBD25D0-0C34-4D1C-B880-17EA72A87598}" type="datetime'''''''2''''''''0''''''''''''2''''''''''''''''''''''2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F68D6C89-9F09-4423-9C8E-4C02A347C104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735013" y="996950"/>
            <a:ext cx="9271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481CA06-F751-4BAE-8FE0-1F32B152E57A}" type="datetime'''''''''''J''''''''''u''''''''''''''''''n''''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21022097-919B-4992-9530-A55E0A5F06C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1662114" y="996950"/>
            <a:ext cx="957263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D70D978-69A9-4592-92F1-D931A182AB9F}" type="datetime'''J''''''''''''''''u''''''''l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938FFDD9-B2F3-4A20-BF65-CE4A77860976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2619375" y="996950"/>
            <a:ext cx="95885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CF3A17C-C849-4893-92B3-818F03CF8B85}" type="datetime'''A''''''''''''''''u''''''''''''''''''''''''g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8B27CEA3-6517-4334-AF85-935C6835CA82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3578225" y="996950"/>
            <a:ext cx="9271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D00D94B-9F80-4AB7-9F74-44C85DDE1710}" type="datetime'''''''''''''''''''''''''''''''''''S''e''''''p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EBFE408D-73FC-40D4-8FB8-381F5EAB151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4505326" y="996950"/>
            <a:ext cx="957263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C27CF4C-5AF8-4478-B517-4C3208B779D0}" type="datetime'''O''''''''''''''''''''''''''''''''c''''''t''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EB6CA133-0CF4-43B4-B0F6-FE4B9EFFD4C4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5462588" y="996950"/>
            <a:ext cx="9271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A410E14-1F1A-4F54-BE7A-E0263D41876C}" type="datetime'''''''''''''''N''''''''''''''''''''''o''''''''v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9407217E-0972-4D83-8AF5-2B8088A70EDF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6389688" y="996950"/>
            <a:ext cx="95885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54826CB-AE79-4DB4-8929-D567BAAD8E69}" type="datetime'''''''D''''''''''''''''''''''''''''''''''''e''''''''''c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A32F7BD9-CFA1-4F86-A90F-B8CDC670E886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7348539" y="996950"/>
            <a:ext cx="957263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572039A-32B2-4070-A8A7-200A7A6DD5E9}" type="datetime'J''''''''''''''''''''''''''''''a''n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7A8C193A-DC80-4546-A4C9-31D6BC479D67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8305800" y="996950"/>
            <a:ext cx="865188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2139FB9-D42B-4DD9-8288-9EF7578F9684}" type="datetime'''''F''''''''''''''''''e''''''b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BAED419F-0ABC-4E24-AEF2-8B9F53B0715E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9170988" y="996950"/>
            <a:ext cx="95885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F344968-EB39-4DCB-91AC-38E5A3AB8CA0}" type="datetime'''''''M''''''''''''''a''''''''''''''''''''''r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926A35C8-9A45-4D0C-BBC7-D45778CD16AB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10129838" y="996950"/>
            <a:ext cx="927100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EB1D2A9-705C-4B70-8FD0-D55A35D333E0}" type="datetime'''''''''''''''''''''''''''''A''p''''r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20C7AE23-4731-43A7-8B36-A1E89F9E66C8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11056939" y="996950"/>
            <a:ext cx="957263" cy="15081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90B139A-7706-4388-AD0A-5025C5E5527B}" type="datetime'M''''''''a''''''''''''''''''''''''''''''''''''''''y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C9D55E4-0D9A-46F3-B2D2-1EB2578A33CF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735013" y="1147763"/>
            <a:ext cx="1539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EFAE509-8960-44CF-B691-8D24168FD222}" type="datetime'''''''''''''''''''''''''3''''''0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9847A77-19AD-431F-A2E8-14E25E3A5BBA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889000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D375DCF-7335-4092-A48E-589A3BAB762D}" type="datetime'''''''''''0''''''''''''''''''''6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210A08F-5374-4CA0-A46E-80E6E414AE07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110648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6973D2D-561E-4303-84D3-CF7A12FF5D8B}" type="datetime'''''1''3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63749B2-3428-4F4C-A092-B37EFA809CC1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32238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D59C1FA-D869-48C8-8C83-0133641E1EA8}" type="datetime'''''''''''''''''''''2''''''''''''''''''''0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4DF0389-C5E5-4E91-A5B9-71F1259A4E6C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53828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12BCEB5-822E-4010-ADA1-8D43DAC22FA9}" type="datetime'''''''''''2''''''''''''''''''''''''''''''''''''''''''''''7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B1D235C-6832-40BF-B99C-6D681289A233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1754188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89007C1-74DC-47C5-910C-87685D055793}" type="datetime'''''''''''0''''''''''''''''''''4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4F1D29F-901B-489F-9F82-546BE1DF9FEF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197167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326886-934A-4194-AD25-12F9C0104A14}" type="datetime'''''''''''1''''''''''''''''''''''''1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2D27E46-D7D2-4F80-AFE4-C6B053F12FE5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218757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6F1A8A-B4B9-4073-BCAA-A99871451DD1}" type="datetime'''''''1''''''''''''8''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4D61886B-6979-4CB0-AD98-04B705154AA7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40347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9B5ED42-76D4-4F05-A812-C246AE073390}" type="datetime'''''''2''''5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B1440AD-E76C-451A-8ECF-A3FEEF159094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619375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7A1737-351F-425F-93A0-02668152598B}" type="datetime'''''''''''''''''''''''''''''0''''''1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77E81C4-C3D6-4FF3-9F35-9DB029CB8F0B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2836863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5D6275-9852-479C-A6A2-3E87DA6EA12C}" type="datetime'''''''''''''''''''0''''''''8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7B908E5-F6DF-4C67-8917-2C7ACC944E81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3052763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C71F315-4F46-4A9C-98C4-3915878B0A5E}" type="datetime'''''15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ADABC51-BC1E-43EA-AEC0-7D11281FBDE0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3268663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871F20-DF82-4636-831C-AD230763F6E5}" type="datetime'''''''''''''''''22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FD04432-6E42-4FEB-ACF4-F3336E83A2DD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484563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93E7EAB-11C9-47AA-8F53-F4339BD7AE64}" type="datetime'''''''''2''''''''''''''''''9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908F446-7F29-490F-8545-2C5ECF3CF6A4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70205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4126299-6257-4554-843E-48F851838D61}" type="datetime'''''0''''''''5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394E4E2-57C0-4D16-A403-AA4E711104B7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391795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E8549C2-BF6A-4FF6-A3E8-22AE9F6D6DF5}" type="datetime'''''''''''''''''''''''''''''''1''''''''''''''''''''''''''''2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EA85EAF-69AE-4938-8EF0-5ABABEAA3B62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413385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9FC7326-2AF8-4C2C-8811-F14C5D89844C}" type="datetime'''''''''''''''''''1''''9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4F2E1BC-2DA4-41F5-B673-A5E183D5C4A1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349750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60E9EE0-AD90-4B03-8984-64F49DBE5753}" type="datetime'''''''2''''''''''''''''''''''6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D0F6053-7197-4003-A64F-7595CD4744B4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56723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E20E33-6007-457F-945F-F8338C13F7CE}" type="datetime'''0''''''''''3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FBF83CD9-0761-438E-91FA-FE8F70F8EFD7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478313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34B8236-8157-4398-A7F6-EBB71091228A}" type="datetime'1''''''''''''''''''''''''''0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F64D294-CB01-49B3-A8D3-91D1FD9599B1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4999038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E1ED04C-3CA0-49FB-959E-F4D001C7F338}" type="datetime'''''1''''''''''''''''''''7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4B0F1C09-68C5-463E-9440-35932BBD67A7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521652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2BA709C-7231-4EFB-B430-479F4A804C66}" type="datetime'''''''''''''''''''''''''''''''''2''''''''''4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F1680E2-BE14-41B6-8132-FF8D8B85FAE9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43242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632459C-EF04-4FE2-A423-4563C45B49C4}" type="datetime'''''''''''''''''''''3''''1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41112A8-48F9-40A9-8447-A0048B7802A1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64832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F55BD91-E39C-49DA-A31B-D7DBA434D33D}" type="datetime'''''''''''''''''''''0''''''''''''7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4161DE0-9451-4D23-8DC0-8E1F5595A8A2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5864225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CCEE4BE-0D7C-4E91-A2E9-A974CE9CEA25}" type="datetime'''''''''''''14''''''''''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9965831-83FF-4785-8A40-0F163FCCC871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6081713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FFC4A36-3EC2-43E3-B2FB-A9051AC1D484}" type="datetime'2''''''''''1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598CF17-FF90-44C2-9F0E-5787DBF203E0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6297613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C8E6888-23C1-482A-90B7-162E0A7BEF78}" type="datetime'''''''2''''''''''''''''''''''''''''8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6BFEDDD-2EA8-47CF-A1A2-4E62A13334B7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513513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C318539-808B-4707-B949-C7D00C1429AC}" type="datetime'''''''''''0''''''5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56E9A06-8D37-4EA4-929C-8702F65AC9CF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6729413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E5522A0-7D61-4A91-B2CE-37B1498C79E8}" type="datetime'''''''''''''''''''1''''''''''''2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A71DA790-03ED-474D-B7AC-1C2DF384A624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694690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1B0980-317E-4363-8E8B-3096E3936537}" type="datetime'''''''''''''''''''''1''''''''''9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63D1CB0-4344-4CCE-A71F-4D6366806444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716280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D4B6546-5D51-4B42-BBDC-8C48FACED03D}" type="datetime'''''''2''''''''''''6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B2F8C6F0-AE5C-4F9E-B050-D85B1C742867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37870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43A6720-FFEF-4227-9401-698C27346189}" type="datetime'''''''''''''''''''''''0''''''''2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1685E6A8-D716-4F05-AAB2-63DF4A1626B0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594600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797F8F6-FD17-4F15-945C-BD1CF8B9B3EC}" type="datetime'''''''0''''''''''''9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A33BB2C9-F201-48A8-8A8A-E3A022557587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781208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7B5CC3E-192F-451E-939C-9D643670136B}" type="datetime'''''''''''''''''''''''''''''''1''''''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45C44BBD-B28C-4C1B-AFBE-EFE1C3C512DD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802798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E49008C-478B-4D9F-AFE2-8F45CEC3F21F}" type="datetime'''''''''''''''''''''''''''''''2''''''''''''3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2EF5CD5A-CBBC-406A-9240-B82E7E86FD82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824388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8EAFB68-265C-412B-9AAB-9DE2661C4B30}" type="datetime'''''''''3''''''0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F80858C4-3B74-4A78-9EAC-06AE61686FCB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459788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351048E-085D-408B-83A4-F4DD3D58DAC0}" type="datetime'''''''''''''''''''''0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4592B127-2ED2-4CE9-8F17-8BC2C8ED8353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67727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6940812-7D81-4B6E-97FF-EDE5C36FD14B}" type="datetime'''''''1''''''''3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4430B4E7-B2DA-4BAB-AAEC-B297C6E2889A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889317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9334E16-064A-44EC-AE3F-8618E96780D3}" type="datetime'''''2''0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71F120F0-DA36-4D8F-B8C8-BF4A53A0DDA3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9109075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808A466-A7C1-4E36-89DD-7E37924B6BA3}" type="datetime'''''''''''''''''''''''''''''''''''''''''''''''''2''''7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1EED6CE1-9F8F-4614-87CA-B5F0A2247AF0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9324975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09102AC-2636-4E01-9057-7F96B42E9C14}" type="datetime'''''''''''''''''''''''''''0''''''''''''''''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16BFFE8B-F572-4677-8F39-03D4D2243C5A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542463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B73C259-BF48-4047-8AC1-757499CD635F}" type="datetime'''''''''''''''''''''''1''''''3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6EEB3DD7-D464-4BFC-A37C-844C203A67D1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9758363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5AA0F1-BBED-406F-B407-09F6C14CBDFF}" type="datetime'20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860BCD37-7966-4FAB-BE28-979001926FAE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9974263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BD27DC4-69D0-4E59-8417-70988800136D}" type="datetime'''''''''''''''''''''''2''''''''''7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7A0291A7-8493-4C98-B5F6-4848FCA8270C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1019175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636CAB1-514E-44D5-88BC-016651EDEB8C}" type="datetime'''''''''''''''0''''''''''''''''''''''3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3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6909471A-1683-419C-8E14-9D9D8873E091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40765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5D2B4CA-1360-4ABA-9BB1-B2DE46B5F2D7}" type="datetime'''''1''''''0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22898529-D0EF-4674-A041-24113F6E9DA5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623550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A31EF02-DE57-4431-A186-08D644698912}" type="datetime'''''''''''''1''''''''''''''''''''7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537C79F7-6DC4-4524-8023-07F2103BE224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0839450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388AA46-48B8-4DF5-866C-CF941986E4D7}" type="datetime'''''''2''''''''''4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BE342F7A-B3F1-4209-A577-0B9FF2FCBB46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105693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644F7BA-77DD-4E6D-B87F-6F4EF209FC5C}" type="datetime'0''''''''''''''''''1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1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3B896E3C-AF33-4CCA-A518-D720E446550F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127283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6C3AF9F-8F6E-4BA4-916C-DEA8576A2FFC}" type="datetime'''''''''''''''''''''''''''''''''''0''8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8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8249E3FC-8F10-4785-A772-82434534CDC4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488738" y="114776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834E35F-81D0-4E29-A1EC-6166E5587121}" type="datetime'''''''''''''''''''''''''''''''''''1''5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1F005810-1752-476F-8F4E-F457AB7DBD9C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11704638" y="114776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5E81CC8-AF95-439C-8515-29AAC0021F1E}" type="datetime'''''''''''''''''2''''''''''2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F154321D-1884-4FE1-A82C-5F9F00793BE4}"/>
              </a:ext>
            </a:extLst>
          </p:cNvPr>
          <p:cNvSpPr/>
          <p:nvPr userDrawn="1">
            <p:custDataLst>
              <p:tags r:id="rId73"/>
            </p:custDataLst>
          </p:nvPr>
        </p:nvSpPr>
        <p:spPr bwMode="auto">
          <a:xfrm>
            <a:off x="11922125" y="1147763"/>
            <a:ext cx="92075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6E83716-19FE-49A5-8880-1D26D5A98CA7}" type="datetime'''''''''2''''''''''''''''''''''''''''''9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kumimoji="0" lang="en-US" sz="600" b="0" i="0" u="none" cap="none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74"/>
            </p:custDataLst>
          </p:nvPr>
        </p:nvCxnSpPr>
        <p:spPr bwMode="auto">
          <a:xfrm>
            <a:off x="735013" y="1258889"/>
            <a:ext cx="0" cy="5191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1662113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3578225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7A3DA983-D033-4649-BC02-ECE3BA83E236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546258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DF5E5695-9F3F-4F82-8D30-52EBF856E1A1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638968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171A3A4-28C0-47D5-A0A0-5D55040D521F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734853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2619375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C4D7238-389F-490D-806D-FE3492EA503F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917098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5E2E0B8-8FB6-493B-8264-682C31BE979A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10129838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5CCB1C3B-B0A6-4348-A4DE-DC0AD1AE3BDB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11056938" y="1258888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12014200" y="1258889"/>
            <a:ext cx="0" cy="5191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284163" y="1258889"/>
            <a:ext cx="0" cy="5191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62E4FCB-643F-4757-B84D-551AECA901C3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4505325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CED21CB-A6E5-4C73-80B8-990C8F6D95D1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8305800" y="1258889"/>
            <a:ext cx="0" cy="5191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D41D025-AA40-4A5E-A9A3-45ED7550CC02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284163" y="4719638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7FB06C2-3B0C-435A-B329-BC671AF2AB57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2989263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CF2107C-DE48-4366-9B63-E08275A1B974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3854450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ED7ED70-13E0-47CE-B48D-8F10CADA4061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5584825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92"/>
            </p:custDataLst>
          </p:nvPr>
        </p:nvCxnSpPr>
        <p:spPr bwMode="auto">
          <a:xfrm>
            <a:off x="284163" y="212407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3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94"/>
            </p:custDataLst>
          </p:nvPr>
        </p:nvCxnSpPr>
        <p:spPr bwMode="auto">
          <a:xfrm>
            <a:off x="284163" y="1258888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95"/>
            </p:custDataLst>
          </p:nvPr>
        </p:nvSpPr>
        <p:spPr bwMode="auto">
          <a:xfrm>
            <a:off x="325438" y="1127125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96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97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7" name="TextBox 366">
            <a:extLst>
              <a:ext uri="{FF2B5EF4-FFF2-40B4-BE49-F238E27FC236}">
                <a16:creationId xmlns:a16="http://schemas.microsoft.com/office/drawing/2014/main" id="{19C0BF61-2C2D-47D9-994B-158116644FDC}"/>
              </a:ext>
            </a:extLst>
          </p:cNvPr>
          <p:cNvSpPr txBox="1"/>
          <p:nvPr userDrawn="1"/>
        </p:nvSpPr>
        <p:spPr>
          <a:xfrm>
            <a:off x="2098978" y="6477105"/>
            <a:ext cx="165942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/>
              <a:t>*accumulated Benefit realization</a:t>
            </a: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0E202D8-B089-477E-972E-498C6AEE21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119497" y="1523592"/>
            <a:ext cx="786535" cy="342133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68" name="Text Placeholder 21">
            <a:extLst>
              <a:ext uri="{FF2B5EF4-FFF2-40B4-BE49-F238E27FC236}">
                <a16:creationId xmlns:a16="http://schemas.microsoft.com/office/drawing/2014/main" id="{0277CA29-49A5-42FF-A1F6-BE600AAE3B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119497" y="3243950"/>
            <a:ext cx="786535" cy="342133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69" name="Text Placeholder 21">
            <a:extLst>
              <a:ext uri="{FF2B5EF4-FFF2-40B4-BE49-F238E27FC236}">
                <a16:creationId xmlns:a16="http://schemas.microsoft.com/office/drawing/2014/main" id="{37C48D26-2314-439F-BDD5-2E9F7555D0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19497" y="4988007"/>
            <a:ext cx="786535" cy="342133"/>
          </a:xfrm>
          <a:solidFill>
            <a:schemeClr val="bg1"/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70" name="Text Placeholder 21">
            <a:extLst>
              <a:ext uri="{FF2B5EF4-FFF2-40B4-BE49-F238E27FC236}">
                <a16:creationId xmlns:a16="http://schemas.microsoft.com/office/drawing/2014/main" id="{073FC095-D3DA-483E-B655-AA97AF77C0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119497" y="5851409"/>
            <a:ext cx="786535" cy="342133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71" name="Text Placeholder 21">
            <a:extLst>
              <a:ext uri="{FF2B5EF4-FFF2-40B4-BE49-F238E27FC236}">
                <a16:creationId xmlns:a16="http://schemas.microsoft.com/office/drawing/2014/main" id="{DF91630B-39FF-4134-9B3D-C511A3E576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119497" y="4120927"/>
            <a:ext cx="786535" cy="342133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72" name="Text Placeholder 21">
            <a:extLst>
              <a:ext uri="{FF2B5EF4-FFF2-40B4-BE49-F238E27FC236}">
                <a16:creationId xmlns:a16="http://schemas.microsoft.com/office/drawing/2014/main" id="{C0E30624-2DBE-40EB-ADA6-5A00BC835F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119497" y="2390552"/>
            <a:ext cx="786535" cy="342133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800"/>
            </a:lvl1pPr>
          </a:lstStyle>
          <a:p>
            <a:pPr lvl="0"/>
            <a:r>
              <a:rPr lang="en-US" dirty="0"/>
              <a:t>Click to add</a:t>
            </a:r>
          </a:p>
        </p:txBody>
      </p:sp>
    </p:spTree>
    <p:extLst>
      <p:ext uri="{BB962C8B-B14F-4D97-AF65-F5344CB8AC3E}">
        <p14:creationId xmlns:p14="http://schemas.microsoft.com/office/powerpoint/2010/main" val="3481716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/>
          <a:srcRect r="72206"/>
          <a:stretch/>
        </p:blipFill>
        <p:spPr>
          <a:xfrm>
            <a:off x="5437233" y="2951505"/>
            <a:ext cx="1317534" cy="954991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B69876-9785-4BC5-A491-B850EB1E09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6" name="Rectangle 1027">
            <a:extLst>
              <a:ext uri="{FF2B5EF4-FFF2-40B4-BE49-F238E27FC236}">
                <a16:creationId xmlns:a16="http://schemas.microsoft.com/office/drawing/2014/main" id="{1F51A78B-63EC-4994-84DA-7D57D2FCF7F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4809176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D3149-D3B5-4EAB-A872-C565B8C47A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A1C0F1-0976-42E4-9723-0CBD4637F0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92377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pt-BR" sz="1020" b="0" i="0" baseline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628253" y="1914726"/>
            <a:ext cx="4740388" cy="954991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628254" y="3449113"/>
            <a:ext cx="8840220" cy="3751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8" name="Rectangle 1027"/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86B6AC-D72B-46FF-9365-159E21B307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7630" y="3840458"/>
            <a:ext cx="8840220" cy="215444"/>
          </a:xfrm>
        </p:spPr>
        <p:txBody>
          <a:bodyPr/>
          <a:lstStyle>
            <a:lvl3pPr marL="111125" indent="0">
              <a:buNone/>
              <a:defRPr sz="1400">
                <a:solidFill>
                  <a:schemeClr val="accent4"/>
                </a:solidFill>
              </a:defRPr>
            </a:lvl3pPr>
          </a:lstStyle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51899768"/>
      </p:ext>
    </p:extLst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6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pt-BR" sz="1020" b="0" i="0" baseline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628253" y="1914726"/>
            <a:ext cx="4740388" cy="954991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628254" y="3449113"/>
            <a:ext cx="8840220" cy="3751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8" name="Rectangle 1027"/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86B6AC-D72B-46FF-9365-159E21B307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7630" y="3840458"/>
            <a:ext cx="8840220" cy="215444"/>
          </a:xfrm>
        </p:spPr>
        <p:txBody>
          <a:bodyPr/>
          <a:lstStyle>
            <a:lvl3pPr marL="111125" indent="0">
              <a:buNone/>
              <a:defRPr sz="1400">
                <a:solidFill>
                  <a:schemeClr val="accent4"/>
                </a:solidFill>
              </a:defRPr>
            </a:lvl3pPr>
          </a:lstStyle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440966614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1BC6E2-5FE9-4B3A-A15B-F74A5F0A38A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9" name="2. Slide Title">
            <a:extLst>
              <a:ext uri="{FF2B5EF4-FFF2-40B4-BE49-F238E27FC236}">
                <a16:creationId xmlns:a16="http://schemas.microsoft.com/office/drawing/2014/main" id="{F41F733B-0C30-43D8-995A-3DED0D4AB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1788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2" pos="7536">
          <p15:clr>
            <a:srgbClr val="FBAE40"/>
          </p15:clr>
        </p15:guide>
        <p15:guide id="3" orient="horz" pos="576">
          <p15:clr>
            <a:srgbClr val="FBAE40"/>
          </p15:clr>
        </p15:guide>
        <p15:guide id="4" orient="horz" pos="403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1BC6E2-5FE9-4B3A-A15B-F74A5F0A38A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9" name="2. Slide Title">
            <a:extLst>
              <a:ext uri="{FF2B5EF4-FFF2-40B4-BE49-F238E27FC236}">
                <a16:creationId xmlns:a16="http://schemas.microsoft.com/office/drawing/2014/main" id="{F41F733B-0C30-43D8-995A-3DED0D4AB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graphicFrame>
        <p:nvGraphicFramePr>
          <p:cNvPr id="8" name="Group 37">
            <a:extLst>
              <a:ext uri="{FF2B5EF4-FFF2-40B4-BE49-F238E27FC236}">
                <a16:creationId xmlns:a16="http://schemas.microsoft.com/office/drawing/2014/main" id="{2AD52117-0CA8-457A-9CD5-0942B3F93B3D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029810790"/>
              </p:ext>
            </p:extLst>
          </p:nvPr>
        </p:nvGraphicFramePr>
        <p:xfrm>
          <a:off x="242380" y="914400"/>
          <a:ext cx="11725484" cy="5486399"/>
        </p:xfrm>
        <a:graphic>
          <a:graphicData uri="http://schemas.openxmlformats.org/drawingml/2006/table">
            <a:tbl>
              <a:tblPr firstRow="1" lastRow="1"/>
              <a:tblGrid>
                <a:gridCol w="58591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663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4801">
                <a:tc>
                  <a:txBody>
                    <a:bodyPr/>
                    <a:lstStyle/>
                    <a:p>
                      <a:pPr marL="0" indent="0" algn="ctr" defTabSz="913526" rtl="0" eaLnBrk="1" fontAlgn="base" hangingPunct="1"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05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Key milestones/ activities completed (last 15 days)</a:t>
                      </a:r>
                    </a:p>
                  </a:txBody>
                  <a:tcPr marL="45720" marR="45720" marT="0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3526" rtl="0" eaLnBrk="1" fontAlgn="base" latinLnBrk="0" hangingPunct="1"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050" b="1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Upcoming key milestones/ activities (next 15 days)</a:t>
                      </a:r>
                    </a:p>
                  </a:txBody>
                  <a:tcPr marL="45720" marR="45720" marT="0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27748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kumimoji="0" 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4138" algn="l"/>
                        </a:tabLst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6438">
                <a:tc>
                  <a:txBody>
                    <a:bodyPr/>
                    <a:lstStyle/>
                    <a:p>
                      <a:pPr marL="0" marR="0" lvl="0" indent="0" algn="ctr" defTabSz="913526" rtl="0" eaLnBrk="1" fontAlgn="base" latinLnBrk="0" hangingPunct="1">
                        <a:lnSpc>
                          <a:spcPct val="95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1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Risks/ Issues &amp; mitigation plan</a:t>
                      </a:r>
                    </a:p>
                  </a:txBody>
                  <a:tcPr marL="45720" marR="4572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526" rtl="0" eaLnBrk="1" fontAlgn="base" latinLnBrk="0" hangingPunct="1">
                        <a:lnSpc>
                          <a:spcPct val="95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1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ecision support required</a:t>
                      </a:r>
                    </a:p>
                  </a:txBody>
                  <a:tcPr marL="45720" marR="4572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97412">
                <a:tc>
                  <a:txBody>
                    <a:bodyPr/>
                    <a:lstStyle/>
                    <a:p>
                      <a:pPr marL="171450" marR="0" lvl="1" indent="-17145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4138" algn="l"/>
                        </a:tabLst>
                        <a:defRPr/>
                      </a:pPr>
                      <a:endParaRPr lang="en-US" sz="1200" b="0" u="none" kern="1200" baseline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45720" marR="45720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4138" algn="l"/>
                        </a:tabLst>
                        <a:defRPr/>
                      </a:pPr>
                      <a:endParaRPr lang="en-US" sz="1200" b="0" u="none" kern="1200" baseline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45720" marR="45720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9A5390-954B-4D7A-BECE-C936C58846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93651" y="1487488"/>
            <a:ext cx="5724525" cy="2803158"/>
          </a:xfrm>
        </p:spPr>
        <p:txBody>
          <a:bodyPr>
            <a:normAutofit/>
          </a:bodyPr>
          <a:lstStyle>
            <a:lvl1pPr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1pPr>
          </a:lstStyle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BBC1210-18F9-4A4E-B7A6-674E672A5C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73824" y="1487488"/>
            <a:ext cx="5724525" cy="2803158"/>
          </a:xfrm>
        </p:spPr>
        <p:txBody>
          <a:bodyPr>
            <a:normAutofit/>
          </a:bodyPr>
          <a:lstStyle>
            <a:lvl1pPr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1pPr>
          </a:lstStyle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07355C1-874A-4F38-BEC1-722699B34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3651" y="4933133"/>
            <a:ext cx="5724525" cy="1438465"/>
          </a:xfrm>
        </p:spPr>
        <p:txBody>
          <a:bodyPr>
            <a:normAutofit/>
          </a:bodyPr>
          <a:lstStyle>
            <a:lvl1pPr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1pPr>
          </a:lstStyle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9CC6A45-3951-43FB-9A7E-CB7DD323B2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73824" y="4933133"/>
            <a:ext cx="5724525" cy="1438465"/>
          </a:xfrm>
        </p:spPr>
        <p:txBody>
          <a:bodyPr>
            <a:normAutofit/>
          </a:bodyPr>
          <a:lstStyle>
            <a:lvl1pPr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1pPr>
          </a:lstStyle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</p:txBody>
      </p:sp>
    </p:spTree>
    <p:extLst>
      <p:ext uri="{BB962C8B-B14F-4D97-AF65-F5344CB8AC3E}">
        <p14:creationId xmlns:p14="http://schemas.microsoft.com/office/powerpoint/2010/main" val="2056910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2" pos="7536">
          <p15:clr>
            <a:srgbClr val="FBAE40"/>
          </p15:clr>
        </p15:guide>
        <p15:guide id="3" orient="horz" pos="576">
          <p15:clr>
            <a:srgbClr val="FBAE40"/>
          </p15:clr>
        </p15:guide>
        <p15:guide id="4" orient="horz" pos="403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1" name="think-cell Slide" r:id="rId97" imgW="360" imgH="360" progId="TCLayout.ActiveDocument.1">
                  <p:embed/>
                </p:oleObj>
              </mc:Choice>
              <mc:Fallback>
                <p:oleObj name="think-cell Slide" r:id="rId97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2406649"/>
            <a:ext cx="11730037" cy="101123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4427537"/>
            <a:ext cx="11730037" cy="101123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4F5D80E-9E02-4482-83CB-2404BC67303B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735013" y="982664"/>
            <a:ext cx="4727575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2433840-AD7E-4B47-9B96-F74EAF03499E}" type="datetime'2''''''''''''''''''''''''''''0''''''2''''''1'''''''''''''">
              <a:rPr kumimoji="0" lang="en-US" altLang="en-US" sz="800" b="1" i="0" u="none" kern="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E9770D5-5CD9-4C43-A300-172B097628D1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5462589" y="982663"/>
            <a:ext cx="655161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BF0DFD-E272-4E7E-933A-82534E2730F3}" type="datetime'''''''''2''''''''''''''''''''0''''''''''''2''2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938FFDD9-B2F3-4A20-BF65-CE4A77860976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735013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CF3A17C-C849-4893-92B3-818F03CF8B85}" type="datetime'''A''''''''''''''''u''''''''''''''''''''''''g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8B27CEA3-6517-4334-AF85-935C6835CA82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1692274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D00D94B-9F80-4AB7-9F74-44C85DDE1710}" type="datetime'''''''''''''''''''''''''''''''''''S''e''''''p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EBFE408D-73FC-40D4-8FB8-381F5EAB151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26193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C27CF4C-5AF8-4478-B517-4C3208B779D0}" type="datetime'''O''''''''''''''''''''''''''''''''c''''''t''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EB6CA133-0CF4-43B4-B0F6-FE4B9EFFD4C4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3578224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A410E14-1F1A-4F54-BE7A-E0263D41876C}" type="datetime'''''''''''''''N''''''''''''''''''''''o''''''''v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9407217E-0972-4D83-8AF5-2B8088A70EDF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4505325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54826CB-AE79-4DB4-8929-D567BAAD8E69}" type="datetime'''''''D''''''''''''''''''''''''''''''''''''e''''''''''c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24E0AED3-28EC-4D7A-A5FA-15F1ED1D787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5462588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4D0C2CE-5E75-485B-BE7C-95023B35514B}" type="datetime'J''''''''''''''''''''''a''''''''n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53AE903C-7A7D-4E2B-B84D-DF72BA8646B9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6421437" y="1133475"/>
            <a:ext cx="86518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14E7F22-1388-4C02-8C57-145DAFAA0724}" type="datetime'''''''''''''Feb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3E31B610-0A93-4059-AC37-D0408841205D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7286625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03B750B-1DA8-4711-9F72-DABD8E0A5867}" type="datetime'''M''''''''''''''''''''''''''ar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0F81C145-2690-4C94-8454-8AA21CEB3334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8243887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E2DD7EE-F686-4C6A-B8EC-2CDC3C3599CA}" type="datetime'''''''''''''''''''A''''''''''''''''p''''''''r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BB989622-68CA-469E-B3CF-6CE2E896CF4A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9170988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52EF1F3-DC74-4B3F-B72C-7FE50606F30B}" type="datetime'''''''M''''''a''''''''''''y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427BAAC6-BA67-4FA9-ABB6-5BA526564948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10129837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CDB3BBD-926C-4DA3-973F-8E1FFFD45C61}" type="datetime'''''''''''''''''''''J''''''''''''u''''''''n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0A123007-420C-40AD-8DFF-BE9525D2CD8B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11056938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DCC2C1-E93C-498F-9859-6879A8DC1BC0}" type="datetime'''J''''''''''''''''u''''''''''''''''''''''''''''''l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B1440AD-E76C-451A-8ECF-A3FEEF159094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73501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7A1737-351F-425F-93A0-02668152598B}" type="datetime'''''''''''''''''''''''''''''0''''''1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77E81C4-C3D6-4FF3-9F35-9DB029CB8F0B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9509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5D6275-9852-479C-A6A2-3E87DA6EA12C}" type="datetime'''''''''''''''''''0''''''''8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7B908E5-F6DF-4C67-8917-2C7ACC944E81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1168399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C71F315-4F46-4A9C-98C4-3915878B0A5E}" type="datetime'''''15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ADABC51-BC1E-43EA-AEC0-7D11281FBDE0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13843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871F20-DF82-4636-831C-AD230763F6E5}" type="datetime'''''''''''''''''22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FD04432-6E42-4FEB-ACF4-F3336E83A2DD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600199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93E7EAB-11C9-47AA-8F53-F4339BD7AE64}" type="datetime'''''''''2''''''''''''''''''9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908F446-7F29-490F-8545-2C5ECF3CF6A4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816099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4126299-6257-4554-843E-48F851838D61}" type="datetime'''''0''''''''5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394E4E2-57C0-4D16-A403-AA4E711104B7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20335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E8549C2-BF6A-4FF6-A3E8-22AE9F6D6DF5}" type="datetime'''''''''''''''''''''''''''''''1''''''''''''''''''''''''''''2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EA85EAF-69AE-4938-8EF0-5ABABEAA3B62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2249487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9FC7326-2AF8-4C2C-8811-F14C5D89844C}" type="datetime'''''''''''''''''''1''''9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4F2E1BC-2DA4-41F5-B673-A5E183D5C4A1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24653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60E9EE0-AD90-4B03-8984-64F49DBE5753}" type="datetime'''''''2''''''''''''''''''''''6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D0F6053-7197-4003-A64F-7595CD4744B4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681287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E20E33-6007-457F-945F-F8338C13F7CE}" type="datetime'''0''''''''''3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FBF83CD9-0761-438E-91FA-FE8F70F8EFD7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89877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34B8236-8157-4398-A7F6-EBB71091228A}" type="datetime'1''''''''''''''''''''''''''0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F64D294-CB01-49B3-A8D3-91D1FD9599B1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31146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E1ED04C-3CA0-49FB-959E-F4D001C7F338}" type="datetime'''''1''''''''''''''''''''7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4B0F1C09-68C5-463E-9440-35932BBD67A7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333057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2BA709C-7231-4EFB-B430-479F4A804C66}" type="datetime'''''''''''''''''''''''''''''''''2''''''''''4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F1680E2-BE14-41B6-8132-FF8D8B85FAE9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35464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632459C-EF04-4FE2-A423-4563C45B49C4}" type="datetime'''''''''''''''''''''3''''1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41112A8-48F9-40A9-8447-A0048B7802A1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76396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F55BD91-E39C-49DA-A31B-D7DBA434D33D}" type="datetime'''''''''''''''''''''0''''''''''''7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4161DE0-9451-4D23-8DC0-8E1F5595A8A2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9798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CCEE4BE-0D7C-4E91-A2E9-A974CE9CEA25}" type="datetime'''''''''''''14''''''''''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9965831-83FF-4785-8A40-0F163FCCC871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419576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FFC4A36-3EC2-43E3-B2FB-A9051AC1D484}" type="datetime'2''''''''''1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598CF17-FF90-44C2-9F0E-5787DBF203E0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4411662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C8E6888-23C1-482A-90B7-162E0A7BEF78}" type="datetime'''''''2''''''''''''''''''''''''''''8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6BFEDDD-2EA8-47CF-A1A2-4E62A13334B7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6291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C318539-808B-4707-B949-C7D00C1429AC}" type="datetime'''''''''''0''''''5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56E9A06-8D37-4EA4-929C-8702F65AC9CF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845049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E5522A0-7D61-4A91-B2CE-37B1498C79E8}" type="datetime'''''''''''''''''''1''''''''''''2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A71DA790-03ED-474D-B7AC-1C2DF384A624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50609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1B0980-317E-4363-8E8B-3096E3936537}" type="datetime'''''''''''''''''''''1''''''''''9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63D1CB0-4344-4CCE-A71F-4D6366806444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5276849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D4B6546-5D51-4B42-BBDC-8C48FACED03D}" type="datetime'''''''2''''''''''''6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4CAC2028-9C2A-47EC-ACE3-836C3C209ABF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5494337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25D4957-3420-4C19-BA02-47AF346A3F6B}" type="datetime'''''''''''''''''''''''''''''0''''''2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D90406D7-E1F7-45A4-B5B7-5B5C26F85ABF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7102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182A2A8-6AB5-4006-8214-3876247B278B}" type="datetime'''''0''''''''''''''''''''9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48D469B5-59EB-44BA-B03B-8440412D96B5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926137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8CB0027-0C01-4E1F-B504-FCA9E5CEB8A5}" type="datetime'''''''''''''''''''''''''''''''''''''''''1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57510D77-2477-4C13-847A-70509DE1A92F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61436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CB908F7-7285-4A11-9F05-466847D65BE1}" type="datetime'''''''2''''''''''''''''''''''3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0E1848B9-D243-4C58-A690-7AF97C892768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635952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A347D1B-23D0-4A37-94A4-6322CA0CF075}" type="datetime'''''''''''''''''''''''''''3''''''''''''''''0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DFC72010-52A5-451F-AEC8-427D76A7A909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657542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E90642-41A3-4A1F-9A98-96023356775A}" type="datetime'''''''''''''''''''''''''''''''''''''''0''''6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E8BF66B7-B3CF-40B0-8F99-BD0A8253DA8B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7913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E1AB55E-8993-4F10-A2AA-AA65A474F140}" type="datetime'''''''''''''''''''''''''''''''''''''1''''''''''3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D60C7969-0036-4F61-A1C5-262AB6A60EAE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700881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7199F7C-C05E-47CB-80DF-EB7EA3B1F9EC}" type="datetime'''''''''''2''''''''''0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8A98E32D-FBD3-4037-BBAA-5CF0284AC7F7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72247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3813206-AC30-4B89-A4CE-B4B50757A3F4}" type="datetime'''''''''''''''''''''''''''''''2''''7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2C24E844-F0DF-4573-9FF3-D369D5663A58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744061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4ADD686-A8E2-43A7-A6C8-54F0775EA46E}" type="datetime'''''''''''0''''6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DB3142C8-89BE-423D-9CE6-7A666CE9B87B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656512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817C0D7-2CD4-4ACF-9720-02A54AEB1141}" type="datetime'''''''''''1''''''''''3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3B922B37-4690-4FFF-BE64-1CF1E8BE6E3B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8740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D207202-02E4-4663-9452-687901DAF601}" type="datetime'''''''2''0''''''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C353B356-4523-4EBB-8BB5-4BEE486EFDA8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8089899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A2579A8-4809-4CB1-BAC9-4B5DFD665079}" type="datetime'''''''''''2''''''7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5609A8C5-6F5A-4550-B22E-654B7E2101C4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83058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D8F118-CBBD-4762-817A-055703699BA9}" type="datetime'''''''''''''''''''''''''''''''''''''''''0''''''''3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A1943558-0C92-4E99-A787-BBB1C8828EFB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8521699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259F03-6E18-4779-930F-251F417874E6}" type="datetime'''''1''''''''''''''''''''''''''''''''''''''''0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0CDCFC8-95BF-4577-92F4-D3D1D21F219B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739187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343E31A-C26F-475F-B860-FC899D288650}" type="datetime'''''''''''''''''1''''''''''''''''''''''''''''''7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EC14448-42E8-45BE-8DA8-EF845841B2C0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9550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0240EFC-0EBE-4EE6-B9EE-C4C9CF945042}" type="datetime'''''''''''''''''''''''''''''''''''''''''''''2''''''''''4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95C90B70-E522-40BB-808D-E77C9CED9CA5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9170987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7F93BE0-24ED-4A39-9962-731338525248}" type="datetime'''''''''''''''''''0''''''''''''''''''''''''''''1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400093FB-249D-4F1E-9815-FBB2F5130F10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93868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634AEB2-ECD3-4E25-B83D-6FF7BC146DA3}" type="datetime'''''''''0''''''''''''''''''''''''''''''8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FF192964-A361-4542-8CE1-C9EF7E8185B2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960437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35717EC-5376-4304-BAC0-217532DD523A}" type="datetime'''''''''1''''''''''''''''''''5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B7FCF34C-1B18-4A4F-891A-39EBA462013A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82027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2B21F7C-B124-4E92-B6E2-DC3328677F28}" type="datetime'''''''''''''''''''''2''''''''''2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0C44E939-8B94-4731-A750-C2E3E393116D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100361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9B20D4F-E2C9-4017-9693-D1E781E4FCB4}" type="datetime'''''''''''''29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F46E74E0-4873-4A93-B09A-A7B619A27EBE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10252074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DEA1314-9A91-4D14-816A-FE88681B58DF}" type="datetime'''0''5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C0D6DC35-6D76-4F8F-8256-FD78110ED1F0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104695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2DFAD3A-7041-4715-86CA-C20D966C06D0}" type="datetime'''''''''''''''''''''''1''''''''''2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3E13995B-8198-415A-9156-E015150B61B7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68546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BF7D18D-8A61-4761-AEA5-DB3A1DAFFC81}" type="datetime'''''''''''''''''''''''''''''1''''9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448A726D-607A-46CC-AA6A-FE7C8D4D2966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9013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708B8A3-74D1-447A-9328-0832107227B6}" type="datetime'''''''''''''''''''2''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12ECE431-48F4-4504-A521-88F3E41B33F2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1117262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0D8ABB-9C25-409B-8FBF-7EAC8AEB9F21}" type="datetime'''''''''''''''0''3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259CDD20-6560-4A24-80A9-B2EA2AA7A9D4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1334749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ABDCD07-E733-4073-9D55-D6B50AE9776B}" type="datetime'''1''''''''''''''''''''''''''''''''''''''''''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88086E06-1D2A-43FC-AC66-D79253D6C3B1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15506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67D064E-5417-42DE-BA89-6F70088F316C}" type="datetime'''''''1''''''''''''''''''''''''7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9381CBBF-CF58-43C5-B7D4-029DE12B23CB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766549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53433C-5DF8-47BF-B2C1-0A9734FC607B}" type="datetime'''''2''''''4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598338B8-9942-4BCA-85E0-7CD5F7082476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11984039" y="1284288"/>
            <a:ext cx="301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73"/>
            </p:custDataLst>
          </p:nvPr>
        </p:nvCxnSpPr>
        <p:spPr bwMode="auto">
          <a:xfrm>
            <a:off x="26193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74"/>
            </p:custDataLst>
          </p:nvPr>
        </p:nvCxnSpPr>
        <p:spPr bwMode="auto">
          <a:xfrm>
            <a:off x="35782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7A3DA983-D033-4649-BC02-ECE3BA83E236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54625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16922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12014200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ADCD6D21-6004-42CB-8AB5-C618F1E963EE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101298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73501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FF895C1-7674-45C5-AF9C-64F0B3A89071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82438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5144A81D-1ABA-4C94-A894-C7F2F32151C2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72866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DF5E5695-9F3F-4F82-8D30-52EBF856E1A1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64214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62E4FCB-643F-4757-B84D-551AECA901C3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45053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28416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D70D133-E774-4BC6-85CE-E0C5A4AF5B14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91709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8B378C5D-10F8-4E53-BD8D-E9B15BD2EC70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110569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284163" y="240665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284163" y="543877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442753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341788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92"/>
            </p:custDataLst>
          </p:nvPr>
        </p:nvCxnSpPr>
        <p:spPr bwMode="auto">
          <a:xfrm>
            <a:off x="284163" y="13954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93"/>
            </p:custDataLst>
          </p:nvPr>
        </p:nvSpPr>
        <p:spPr bwMode="auto">
          <a:xfrm>
            <a:off x="325438" y="1263650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94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95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3" name="Text Placeholder 4">
            <a:extLst>
              <a:ext uri="{FF2B5EF4-FFF2-40B4-BE49-F238E27FC236}">
                <a16:creationId xmlns:a16="http://schemas.microsoft.com/office/drawing/2014/main" id="{67EAB526-29E1-4165-87FC-5211E6FAF2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6200000">
            <a:off x="23356" y="1736471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0" name="Text Placeholder 4">
            <a:extLst>
              <a:ext uri="{FF2B5EF4-FFF2-40B4-BE49-F238E27FC236}">
                <a16:creationId xmlns:a16="http://schemas.microsoft.com/office/drawing/2014/main" id="{543F4CE9-00F8-4F6F-8318-045D00C438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6200000">
            <a:off x="23356" y="2746129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0C703D68-C70B-4937-A8D9-EDBD8A5103A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6200000">
            <a:off x="23356" y="3755375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53399457-45AC-4E2E-9F88-BFCF0FC071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 rot="16200000">
            <a:off x="23356" y="4765033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7B3C31E7-954D-42B9-840E-0BD765CE21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 rot="16200000">
            <a:off x="23356" y="5774175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1573242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/>
          <a:srcRect r="72206"/>
          <a:stretch/>
        </p:blipFill>
        <p:spPr>
          <a:xfrm>
            <a:off x="5437233" y="2951505"/>
            <a:ext cx="1317534" cy="954991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B69876-9785-4BC5-A491-B850EB1E09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6" name="Rectangle 1027">
            <a:extLst>
              <a:ext uri="{FF2B5EF4-FFF2-40B4-BE49-F238E27FC236}">
                <a16:creationId xmlns:a16="http://schemas.microsoft.com/office/drawing/2014/main" id="{1F51A78B-63EC-4994-84DA-7D57D2FCF7F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21164828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3222F8-89CC-41BB-892A-1C7BF119B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0AD263-7BAA-40AA-87D4-5CB5E4B7A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88388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12/08/2020 04:05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5/07/2020 16:01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13240" name="Picture 600" descr="C:\Users\MYTHIL~1\AppData\Local\Temp\notes1FCF23\~b522205.TMP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8966559" y="6007013"/>
            <a:ext cx="3028144" cy="64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19EF3A-3418-4F52-82F5-DEB9FFB4CD8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" y="0"/>
            <a:ext cx="12192000" cy="501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321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054419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37064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5663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1BC6E2-5FE9-4B3A-A15B-F74A5F0A38A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839ED61-BF2A-4EC3-BB7E-8C20F8EBF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266758"/>
            <a:ext cx="10711261" cy="36933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228771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2" pos="7536">
          <p15:clr>
            <a:srgbClr val="FBAE40"/>
          </p15:clr>
        </p15:guide>
        <p15:guide id="3" orient="horz" pos="888">
          <p15:clr>
            <a:srgbClr val="FBAE40"/>
          </p15:clr>
        </p15:guide>
        <p15:guide id="4" orient="horz" pos="4032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pt-BR" sz="1020" b="0" i="0" baseline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628253" y="1914726"/>
            <a:ext cx="4740388" cy="954991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628254" y="3449113"/>
            <a:ext cx="8840220" cy="3751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8" name="Rectangle 1027"/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86B6AC-D72B-46FF-9365-159E21B307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7630" y="3840458"/>
            <a:ext cx="8840220" cy="215444"/>
          </a:xfrm>
        </p:spPr>
        <p:txBody>
          <a:bodyPr/>
          <a:lstStyle>
            <a:lvl3pPr marL="111125" indent="0">
              <a:buNone/>
              <a:defRPr sz="1400">
                <a:solidFill>
                  <a:schemeClr val="accent4"/>
                </a:solidFill>
              </a:defRPr>
            </a:lvl3pPr>
          </a:lstStyle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586965565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1BC6E2-5FE9-4B3A-A15B-F74A5F0A38A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9" name="2. Slide Title">
            <a:extLst>
              <a:ext uri="{FF2B5EF4-FFF2-40B4-BE49-F238E27FC236}">
                <a16:creationId xmlns:a16="http://schemas.microsoft.com/office/drawing/2014/main" id="{F41F733B-0C30-43D8-995A-3DED0D4AB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7096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2" pos="7536">
          <p15:clr>
            <a:srgbClr val="FBAE40"/>
          </p15:clr>
        </p15:guide>
        <p15:guide id="3" orient="horz" pos="576">
          <p15:clr>
            <a:srgbClr val="FBAE40"/>
          </p15:clr>
        </p15:guide>
        <p15:guide id="4" orient="horz" pos="4032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1BC6E2-5FE9-4B3A-A15B-F74A5F0A38A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9" name="2. Slide Title">
            <a:extLst>
              <a:ext uri="{FF2B5EF4-FFF2-40B4-BE49-F238E27FC236}">
                <a16:creationId xmlns:a16="http://schemas.microsoft.com/office/drawing/2014/main" id="{F41F733B-0C30-43D8-995A-3DED0D4AB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graphicFrame>
        <p:nvGraphicFramePr>
          <p:cNvPr id="8" name="Group 37">
            <a:extLst>
              <a:ext uri="{FF2B5EF4-FFF2-40B4-BE49-F238E27FC236}">
                <a16:creationId xmlns:a16="http://schemas.microsoft.com/office/drawing/2014/main" id="{2AD52117-0CA8-457A-9CD5-0942B3F93B3D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242380" y="914400"/>
          <a:ext cx="11725484" cy="5486399"/>
        </p:xfrm>
        <a:graphic>
          <a:graphicData uri="http://schemas.openxmlformats.org/drawingml/2006/table">
            <a:tbl>
              <a:tblPr firstRow="1" lastRow="1"/>
              <a:tblGrid>
                <a:gridCol w="58591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663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4801">
                <a:tc>
                  <a:txBody>
                    <a:bodyPr/>
                    <a:lstStyle/>
                    <a:p>
                      <a:pPr marL="0" indent="0" algn="ctr" defTabSz="913526" rtl="0" eaLnBrk="1" fontAlgn="base" hangingPunct="1"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05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Key milestones/ activities completed (last 30 days)</a:t>
                      </a:r>
                    </a:p>
                  </a:txBody>
                  <a:tcPr marL="45720" marR="45720" marT="0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3526" rtl="0" eaLnBrk="1" fontAlgn="base" latinLnBrk="0" hangingPunct="1"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050" b="1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Upcoming key milestones/ activities (next 30 days)</a:t>
                      </a:r>
                    </a:p>
                  </a:txBody>
                  <a:tcPr marL="45720" marR="45720" marT="0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27748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kumimoji="0" 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4138" algn="l"/>
                        </a:tabLst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6438">
                <a:tc>
                  <a:txBody>
                    <a:bodyPr/>
                    <a:lstStyle/>
                    <a:p>
                      <a:pPr marL="0" marR="0" lvl="0" indent="0" algn="ctr" defTabSz="913526" rtl="0" eaLnBrk="1" fontAlgn="base" latinLnBrk="0" hangingPunct="1">
                        <a:lnSpc>
                          <a:spcPct val="95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1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Risks/ Issues &amp; mitigation plan</a:t>
                      </a:r>
                    </a:p>
                  </a:txBody>
                  <a:tcPr marL="45720" marR="4572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526" rtl="0" eaLnBrk="1" fontAlgn="base" latinLnBrk="0" hangingPunct="1">
                        <a:lnSpc>
                          <a:spcPct val="95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1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ecision support required</a:t>
                      </a:r>
                    </a:p>
                  </a:txBody>
                  <a:tcPr marL="45720" marR="4572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97412">
                <a:tc>
                  <a:txBody>
                    <a:bodyPr/>
                    <a:lstStyle/>
                    <a:p>
                      <a:pPr marL="171450" marR="0" lvl="1" indent="-17145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4138" algn="l"/>
                        </a:tabLst>
                        <a:defRPr/>
                      </a:pPr>
                      <a:endParaRPr lang="en-US" sz="1200" b="0" u="none" kern="1200" baseline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45720" marR="45720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4138" algn="l"/>
                        </a:tabLst>
                        <a:defRPr/>
                      </a:pPr>
                      <a:endParaRPr lang="en-US" sz="1200" b="0" u="none" kern="1200" baseline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45720" marR="45720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9A5390-954B-4D7A-BECE-C936C58846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93651" y="1487488"/>
            <a:ext cx="5724525" cy="2803158"/>
          </a:xfrm>
        </p:spPr>
        <p:txBody>
          <a:bodyPr>
            <a:normAutofit/>
          </a:bodyPr>
          <a:lstStyle>
            <a:lvl1pPr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1pPr>
          </a:lstStyle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BBC1210-18F9-4A4E-B7A6-674E672A5C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73824" y="1487488"/>
            <a:ext cx="5724525" cy="2803158"/>
          </a:xfrm>
        </p:spPr>
        <p:txBody>
          <a:bodyPr>
            <a:normAutofit/>
          </a:bodyPr>
          <a:lstStyle>
            <a:lvl1pPr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1pPr>
          </a:lstStyle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07355C1-874A-4F38-BEC1-722699B34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3651" y="4933133"/>
            <a:ext cx="5724525" cy="1438465"/>
          </a:xfrm>
        </p:spPr>
        <p:txBody>
          <a:bodyPr>
            <a:normAutofit/>
          </a:bodyPr>
          <a:lstStyle>
            <a:lvl1pPr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1pPr>
          </a:lstStyle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9CC6A45-3951-43FB-9A7E-CB7DD323B2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73824" y="4933133"/>
            <a:ext cx="5724525" cy="1438465"/>
          </a:xfrm>
        </p:spPr>
        <p:txBody>
          <a:bodyPr>
            <a:normAutofit/>
          </a:bodyPr>
          <a:lstStyle>
            <a:lvl1pPr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1pPr>
          </a:lstStyle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</p:txBody>
      </p:sp>
    </p:spTree>
    <p:extLst>
      <p:ext uri="{BB962C8B-B14F-4D97-AF65-F5344CB8AC3E}">
        <p14:creationId xmlns:p14="http://schemas.microsoft.com/office/powerpoint/2010/main" val="1234694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2" pos="7536">
          <p15:clr>
            <a:srgbClr val="FBAE40"/>
          </p15:clr>
        </p15:guide>
        <p15:guide id="3" orient="horz" pos="576">
          <p15:clr>
            <a:srgbClr val="FBAE40"/>
          </p15:clr>
        </p15:guide>
        <p15:guide id="4" orient="horz" pos="4032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ane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7" name="think-cell Slide" r:id="rId94" imgW="360" imgH="360" progId="TCLayout.ActiveDocument.1">
                  <p:embed/>
                </p:oleObj>
              </mc:Choice>
              <mc:Fallback>
                <p:oleObj name="think-cell Slide" r:id="rId9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3079750"/>
            <a:ext cx="11730037" cy="16859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E9770D5-5CD9-4C43-A300-172B097628D1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735013" y="982663"/>
            <a:ext cx="849788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BF0DFD-E272-4E7E-933A-82534E2730F3}" type="datetime'''''''''2''''''''''''''''''''0''''''''''''2''2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FED70689-D6E8-41FF-9643-8B23A3810471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9232900" y="982663"/>
            <a:ext cx="278130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4091278-C8AC-4DCD-93D4-04298A3CFC7E}" type="datetime'2''0''''''''''''''''''2''''''''''''''''''''''''''''''''''''3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0F81C145-2690-4C94-8454-8AA21CEB3334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735013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E2DD7EE-F686-4C6A-B8EC-2CDC3C3599CA}" type="datetime'''''''''''''''''''A''''''''''''''''p''''''''r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BB989622-68CA-469E-B3CF-6CE2E896CF4A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1662114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52EF1F3-DC74-4B3F-B72C-7FE50606F30B}" type="datetime'''''''M''''''a''''''''''''y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427BAAC6-BA67-4FA9-ABB6-5BA526564948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261937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CDB3BBD-926C-4DA3-973F-8E1FFFD45C61}" type="datetime'''''''''''''''''''''J''''''''''''u''''''''n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0A123007-420C-40AD-8DFF-BE9525D2CD8B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35464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DCC2C1-E93C-498F-9859-6879A8DC1BC0}" type="datetime'''J''''''''''''''''u''''''''''''''''''''''''''''''l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E763AC1A-6E2F-4C70-915A-E1BC350F73A5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4505326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5E584A6-2FD6-44C1-BAE8-A54E63F003BE}" type="datetime'''A''''''''''''''''''''''''''u''''''''''''g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8FF1FC96-21E5-44A1-9CF5-3EE27953167B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546258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F8A308C-4A35-4444-8B53-C618C95AC8FB}" type="datetime'''''''''''''''S''''''''''''''''e''''''''p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492FE129-58CF-4023-9BAD-B3597B447B17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6389688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7CFE4CB-19DB-425B-987E-80246FFAEA48}" type="datetime'O''''''c''t''''''''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0703ABE9-73AB-49CF-B326-09D5317E2EDD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734853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664E844-9DC9-4AD8-8D6C-D3DDDABD74D8}" type="datetime'''''''''''''''''''''''''N''''''o''''''''v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DC87511B-0D13-4CB4-A32E-A6485116254D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8275639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5CE93E7-8A31-4BA8-8772-B5BE9BA5CC6B}" type="datetime'''''''''''''''''''''D''ec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5367ADDB-4DC9-43F0-A3B9-613A64A6BE24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9232900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5ED03C9-B92C-4BD7-80E6-598766567F21}" type="datetime'''''''''''''''''''J''''a''''''''''''''''''''''''''''''''n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F4454180-CEF9-4447-B767-E1255C65CB92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10191750" y="1133475"/>
            <a:ext cx="86518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BA22602-9457-4B89-BEEB-D5CE52417636}" type="datetime'''''''''''''''''''''''''''F''''e''''''''''b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5989681B-1942-4601-B81E-D8BBEF678D7E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11056939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46196FD-8E8B-4C2C-9284-1331BB6E08C1}" type="datetime'''''M''''''''''''''''''''''''''''a''''r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C353B356-4523-4EBB-8BB5-4BEE486EFDA8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735014" y="1284288"/>
            <a:ext cx="6191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5609A8C5-6F5A-4550-B22E-654B7E2101C4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7969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D8F118-CBBD-4762-817A-055703699BA9}" type="datetime'''''''''''''''''''''''''''''''''''''''''0''''''''3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A1943558-0C92-4E99-A787-BBB1C8828E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10128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259F03-6E18-4779-930F-251F417874E6}" type="datetime'''''1''''''''''''''''''''''''''''''''''''''''0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0CDCFC8-95BF-4577-92F4-D3D1D21F219B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12287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343E31A-C26F-475F-B860-FC899D288650}" type="datetime'''''''''''''''''1''''''''''''''''''''''''''''''7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EC14448-42E8-45BE-8DA8-EF845841B2C0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14462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0240EFC-0EBE-4EE6-B9EE-C4C9CF945042}" type="datetime'''''''''''''''''''''''''''''''''''''''''''''2''''''''''4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95C90B70-E522-40BB-808D-E77C9CED9CA5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6621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7F93BE0-24ED-4A39-9962-731338525248}" type="datetime'''''''''''''''''''0''''''''''''''''''''''''''''1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400093FB-249D-4F1E-9815-FBB2F5130F10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8780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634AEB2-ECD3-4E25-B83D-6FF7BC146DA3}" type="datetime'''''''''0''''''''''''''''''''''''''''''8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FF192964-A361-4542-8CE1-C9EF7E8185B2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20939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35717EC-5376-4304-BAC0-217532DD523A}" type="datetime'''''''''1''''''''''''''''''''5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B7FCF34C-1B18-4A4F-891A-39EBA462013A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23114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2B21F7C-B124-4E92-B6E2-DC3328677F28}" type="datetime'''''''''''''''''''''2''''''''''2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0C44E939-8B94-4731-A750-C2E3E393116D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25273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9B20D4F-E2C9-4017-9693-D1E781E4FCB4}" type="datetime'''''''''''''29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F46E74E0-4873-4A93-B09A-A7B619A27EBE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7432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DEA1314-9A91-4D14-816A-FE88681B58DF}" type="datetime'''0''5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C0D6DC35-6D76-4F8F-8256-FD78110ED1F0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9606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2DFAD3A-7041-4715-86CA-C20D966C06D0}" type="datetime'''''''''''''''''''''''1''''''''''2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3E13995B-8198-415A-9156-E015150B61B7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31765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BF7D18D-8A61-4761-AEA5-DB3A1DAFFC81}" type="datetime'''''''''''''''''''''''''''''1''''9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448A726D-607A-46CC-AA6A-FE7C8D4D2966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33924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708B8A3-74D1-447A-9328-0832107227B6}" type="datetime'''''''''''''''''''2''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12ECE431-48F4-4504-A521-88F3E41B33F2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36083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0D8ABB-9C25-409B-8FBF-7EAC8AEB9F21}" type="datetime'''''''''''''''0''3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259CDD20-6560-4A24-80A9-B2EA2AA7A9D4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8258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ABDCD07-E733-4073-9D55-D6B50AE9776B}" type="datetime'''1''''''''''''''''''''''''''''''''''''''''''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88086E06-1D2A-43FC-AC66-D79253D6C3B1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40417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67D064E-5417-42DE-BA89-6F70088F316C}" type="datetime'''''''1''''''''''''''''''''''''7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9381CBBF-CF58-43C5-B7D4-029DE12B23CB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42576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53433C-5DF8-47BF-B2C1-0A9734FC607B}" type="datetime'''''2''''''4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598338B8-9942-4BCA-85E0-7CD5F7082476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44735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FEFEA56-AA84-44AA-9808-87D60AD48A97}" type="datetime'3''''''''''''''''''''1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A4C53999-B28C-4AF5-A5C7-02CECC22A256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6910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D7D972C-E1E2-4B32-9900-65EC6886727D}" type="datetime'''''''''''''''''''''''''''''''0''''''7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2644BAC8-9E18-4B2D-8E34-EA6B2BF60ABD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9069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439854F-D285-403C-B9CC-63064F4BB411}" type="datetime'''''1''''''''''''''''''''''''4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F971FCA5-1354-4C27-8072-64371EBE8B71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51228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EC04CCB-20D5-404C-BA84-E4F77D7CA1C4}" type="datetime'''''''''''2''''''''1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3D6FEEDB-DA49-458D-851A-6D68F6A1A1BD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53387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ADFCA40-8646-4713-B527-FF1DD6D727EC}" type="datetime'''''''28''''''''''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7D667C34-E85D-4382-8FB4-E5FF1B6B73B0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55562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28230CE-3D3B-4688-B445-08F75031FFFB}" type="datetime'''''''''''0''4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9EF53C4F-8AEE-4CF9-B736-DC3C34F01719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7721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BD7197D-75A7-4C00-85B8-F616C25424B0}" type="datetime'''''''''''''''''''''''1''''''''''''''''''''''''''''1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CE20CBCE-B940-4544-96CA-F65E2FE73C3E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9880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0D5222A-06DE-4791-8BB4-B5CDBA6A1C46}" type="datetime'''1''''''''''''''''''''''''''''''''''''''''''8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8A5A77BE-BF67-4D66-B909-FAB507DF98CD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62039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3D24FCB-C20A-418D-81DC-B1D8191658A6}" type="datetime'''''''''''''''''''''''''''''''''''''''''''''''''2''5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AA6944D8-0091-41CE-B7D9-8FB297E31456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64214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64E63D0-DC65-494B-B633-F7AFD0D3E540}" type="datetime'''''''''''''''''''0''''''''''''''''''''''''''2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E7C6D009-AD19-4122-9A69-3AFCCF75C03E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66373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0D3F951-FC69-4796-8A9B-91E4EEEF5973}" type="datetime'''''''''''0''''''''''''''''''''''''''''9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7C980DB6-F45E-430E-B7A9-DB02E0D66F1E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8532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B0202F-AC3B-4D55-87B1-468F893BF2E4}" type="datetime'''''''''''''''''''''''''1''''''''''''''''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B9DF412D-877B-40D4-A9CD-789F2866F332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70691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659EF40-4FD8-45DB-8AE3-535EA858EA5F}" type="datetime'''''''''''''''''''''''''''''''''2''''''''''3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31D24ABB-C166-4D47-B068-995A120E28CE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72866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EC89356-07E1-4588-8DBD-80D5B3D48566}" type="datetime'''''''3''''''''''''''''''''''''''''''''''''''''''''''0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10601DD1-8117-45A2-9379-4A817853B2EC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75025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88BFCD0-7415-4EC8-93F4-EA2D282B4C3B}" type="datetime'''''0''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9C884B34-AEBF-42E1-B6A0-73B4A15F0102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7184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29AD7B3-9DC6-41DE-86B6-987DBF8C2BA8}" type="datetime'''''''''''''''''''''1''''''''3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6BFB3587-1C26-41B1-9488-024517F85749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9359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BE2C0D9-ED5A-4509-A973-9DA9FAC75894}" type="datetime'''''2''''''''''''''''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2D5230FA-8B9A-4E7E-84EF-7CEB0A1AE1BA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81518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653AAAD-16FB-4078-8E58-F0196A8FC64E}" type="datetime'''''2''''''''''''''''''''''''''''7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4F2848F6-8049-4613-842C-F60F16B14B4B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83677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5283D8-608A-4F71-9B01-48821A141CA6}" type="datetime'''''''''''''''''''''''''''''0''''''''''''''''4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93BD7E39-BDA8-487B-AFA7-D0DDD3696077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85836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1A24D0C-A98E-4471-96F2-227460B552BF}" type="datetime'''''1''''''''''''''''''''''''''''''''''1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BBE9B52F-2111-413A-BB06-902829604C59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8011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2FF0A9A-DB42-45F0-860F-93FCF998177C}" type="datetime'''''''''''''''''''''''''''''''''''''''''''1''''''''8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AE5C16A4-C1D9-4EB9-AAA6-5E115BEEDFAB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90170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B635A0F-B762-4420-822F-B38BE5BDCA82}" type="datetime'''''''''''''''''''''''''''''''''''''2''5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AB7F9243-78B4-4445-85B3-9D3B5967FC23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92329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2F113A5-2FE3-4E0B-9086-38FBE644577C}" type="datetime'0''''''''''''''''''1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37731812-3462-48D7-80B0-127DAF64C907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94488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A3AD29B-DC57-454E-A4E3-C0EB8144393D}" type="datetime'0''8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CBB4C8BA-AB4F-4B33-9469-28B88E747A2A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96662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289AD4F-B8C0-4E21-9C76-48C8A97C6AA1}" type="datetime'''''''1''''''''''5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F388E2B1-A218-4168-96C5-31A28B84C907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8821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5C4EDE1-3450-4E97-8090-26677527C15F}" type="datetime'''''''''''2''''''2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604E8FB6-1A69-487E-9E34-E75B373C8C8A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100980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23EFFFA-6777-4E7E-92F2-85B8F7967C76}" type="datetime'''''''''''''''''''''''''''''''''''2''''''9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3183D084-A135-4DDC-8700-EC0BF3B032F2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103139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683EFC2-1CFF-4421-B9E5-5A8093A7A250}" type="datetime'''''''''''''''''0''5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6C3FD605-88E2-4640-93F0-A081799C0108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105314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367E4F7-B9C8-4165-BC85-952833E13641}" type="datetime'1''''''''''''''''''''''''''''''''''''''''2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9AC7E491-6784-48FF-944C-F0EB2FD05FD0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7473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91F125F-9066-441A-9641-5DCC9E3EFE84}" type="datetime'1''''''''''''''''''''''''''''''''''''9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D95ACBB4-5321-4CBE-85D0-1B0AA00DB513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9632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308CDEB-7079-4437-BBF1-DE6CA90B31AF}" type="datetime'''''''''''''''''''''''''2''''''''''''''''''''6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0204CA7D-29F2-4FF7-B095-37354B7F0EA6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11791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B1D341E-1825-4EDF-9C9E-1120A8C8E15C}" type="datetime'''''''''''''''''''''''''05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B84D5124-EE9A-48C0-8507-823925BC7CC7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13966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BAB64E4-D122-491A-AC25-EB932FA0709D}" type="datetime'''''''''''''''''''''''''''1''''''''2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28AE03CB-2A5F-4C4D-8369-725DFB3EB29A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16125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7221C96-9432-45DE-BA68-FAA5319FBB0A}" type="datetime'''''''''''''''1''''''''''9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9F0E808F-7167-485D-9D8A-E4B9B2AA0B33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828463" y="1284288"/>
            <a:ext cx="18573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8E73B74-9E2D-4386-B486-86B6DECCE004}" type="datetime'''''2''''''''''''''''''''''''''''6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9E1700E-776F-420A-B99F-5F4E2100C393}"/>
              </a:ext>
            </a:extLst>
          </p:cNvPr>
          <p:cNvCxnSpPr/>
          <p:nvPr userDrawn="1">
            <p:custDataLst>
              <p:tags r:id="rId72"/>
            </p:custDataLst>
          </p:nvPr>
        </p:nvCxnSpPr>
        <p:spPr bwMode="auto">
          <a:xfrm>
            <a:off x="1019175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73"/>
            </p:custDataLst>
          </p:nvPr>
        </p:nvCxnSpPr>
        <p:spPr bwMode="auto">
          <a:xfrm>
            <a:off x="12014200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62E4FCB-643F-4757-B84D-551AECA901C3}"/>
              </a:ext>
            </a:extLst>
          </p:cNvPr>
          <p:cNvCxnSpPr/>
          <p:nvPr userDrawn="1">
            <p:custDataLst>
              <p:tags r:id="rId74"/>
            </p:custDataLst>
          </p:nvPr>
        </p:nvCxnSpPr>
        <p:spPr bwMode="auto">
          <a:xfrm>
            <a:off x="45053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1662113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26193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35464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7A3DA983-D033-4649-BC02-ECE3BA83E236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54625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DF5E5695-9F3F-4F82-8D30-52EBF856E1A1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63896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5144A81D-1ABA-4C94-A894-C7F2F32151C2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73485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FF895C1-7674-45C5-AF9C-64F0B3A89071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82756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70480AA-BB22-4385-B07A-951FA444DB54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110569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73501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28416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87A9D60-60F4-40C4-9CA1-2A2C975FFD64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923290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284163" y="476567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284163" y="307975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13954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90"/>
            </p:custDataLst>
          </p:nvPr>
        </p:nvSpPr>
        <p:spPr bwMode="auto">
          <a:xfrm>
            <a:off x="325438" y="1263650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91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92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3" name="Text Placeholder 4">
            <a:extLst>
              <a:ext uri="{FF2B5EF4-FFF2-40B4-BE49-F238E27FC236}">
                <a16:creationId xmlns:a16="http://schemas.microsoft.com/office/drawing/2014/main" id="{67EAB526-29E1-4165-87FC-5211E6FAF2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6200000">
            <a:off x="-273505" y="2064270"/>
            <a:ext cx="1566222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84" name="Text Placeholder 4">
            <a:extLst>
              <a:ext uri="{FF2B5EF4-FFF2-40B4-BE49-F238E27FC236}">
                <a16:creationId xmlns:a16="http://schemas.microsoft.com/office/drawing/2014/main" id="{48B8805E-9737-4C6B-BBBF-783E4D5ADA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 rot="16200000">
            <a:off x="-273505" y="3765489"/>
            <a:ext cx="1566222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85" name="Text Placeholder 4">
            <a:extLst>
              <a:ext uri="{FF2B5EF4-FFF2-40B4-BE49-F238E27FC236}">
                <a16:creationId xmlns:a16="http://schemas.microsoft.com/office/drawing/2014/main" id="{768E89D3-6925-4AAE-8E32-4B5051B3D1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 rot="16200000">
            <a:off x="-273505" y="5436119"/>
            <a:ext cx="1566222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511230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3_3 Lane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1" name="think-cell Slide" r:id="rId94" imgW="360" imgH="360" progId="TCLayout.ActiveDocument.1">
                  <p:embed/>
                </p:oleObj>
              </mc:Choice>
              <mc:Fallback>
                <p:oleObj name="think-cell Slide" r:id="rId9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3079750"/>
            <a:ext cx="11730037" cy="16859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E9770D5-5CD9-4C43-A300-172B097628D1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735014" y="982663"/>
            <a:ext cx="284321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BF0DFD-E272-4E7E-933A-82534E2730F3}" type="datetime'''''''''2''''''''''''''''''''0''''''''''''2''2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FED70689-D6E8-41FF-9643-8B23A3810471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3578225" y="982663"/>
            <a:ext cx="8435975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4091278-C8AC-4DCD-93D4-04298A3CFC7E}" type="datetime'2''0''''''''''''''''''2''''''''''''''''''''''''''''''''''''3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492FE129-58CF-4023-9BAD-B3597B447B17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735013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7CFE4CB-19DB-425B-987E-80246FFAEA48}" type="datetime'O''''''c''t''''''''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0703ABE9-73AB-49CF-B326-09D5317E2EDD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169227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664E844-9DC9-4AD8-8D6C-D3DDDABD74D8}" type="datetime'''''''''''''''''''''''''N''''''o''''''''v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DC87511B-0D13-4CB4-A32E-A6485116254D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26193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5CE93E7-8A31-4BA8-8772-B5BE9BA5CC6B}" type="datetime'''''''''''''''''''''D''ec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5367ADDB-4DC9-43F0-A3B9-613A64A6BE24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3578225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5ED03C9-B92C-4BD7-80E6-598766567F21}" type="datetime'''''''''''''''''''J''''a''''''''''''''''''''''''''''''''n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F4454180-CEF9-4447-B767-E1255C65CB92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4535488" y="1133475"/>
            <a:ext cx="86518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BA22602-9457-4B89-BEEB-D5CE52417636}" type="datetime'''''''''''''''''''''''''''F''''e''''''''''b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5989681B-1942-4601-B81E-D8BBEF678D7E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54006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46196FD-8E8B-4C2C-9284-1331BB6E08C1}" type="datetime'''''M''''''''''''''''''''''''''''a''''r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44D79FD3-B69D-4763-A33C-CC58D906FEC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635952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C67AFE0-9527-4DE3-AD39-2EA73FF32AC0}" type="datetime'''''''''''''''''''''''''''''''''''''''''''''''''''Ap''''''r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F34A3B02-EF87-498E-9A56-269D75F09D16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7286625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CC41015-DFBF-4B48-B397-C1E4C3AE4C0E}" type="datetime'''''''''''''Ma''''''''y''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A2FADEC1-58FF-4A2D-8AFE-9438206373E7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824388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AFDC764-EB10-417C-80E3-8CCABE290686}" type="datetime'''''''''''''''J''u''n''''''''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6755A5D0-3CF5-4DC2-8842-4B6A0D53D390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9170988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95889F1-3454-4505-BBF5-35BDB5B97ACC}" type="datetime'''''J''''''''''''u''l''''''''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A7583441-E38B-4F74-B01D-B0A207ABA1C4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10129838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9151330-4118-46EF-B73B-DC80756C75B1}" type="datetime'''''A''''''u''''''''''g''''''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138B380A-E4C7-4BDA-A588-E58952D6A1FE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11087100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5A08DA4-246D-4081-A741-6822BC6721D0}" type="datetime'''S''''''''''''''e''''''''''p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8A5A77BE-BF67-4D66-B909-FAB507DF98CD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735013" y="1284288"/>
            <a:ext cx="301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AA6944D8-0091-41CE-B7D9-8FB297E31456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7651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64E63D0-DC65-494B-B633-F7AFD0D3E540}" type="datetime'''''''''''''''''''0''''''''''''''''''''''''''2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E7C6D009-AD19-4122-9A69-3AFCCF75C03E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9826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0D3F951-FC69-4796-8A9B-91E4EEEF5973}" type="datetime'''''''''''0''''''''''''''''''''''''''''9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7C980DB6-F45E-430E-B7A9-DB02E0D66F1E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11985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B0202F-AC3B-4D55-87B1-468F893BF2E4}" type="datetime'''''''''''''''''''''''''1''''''''''''''''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B9DF412D-877B-40D4-A9CD-789F2866F332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14144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659EF40-4FD8-45DB-8AE3-535EA858EA5F}" type="datetime'''''''''''''''''''''''''''''''''2''''''''''3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31D24ABB-C166-4D47-B068-995A120E28CE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6319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EC89356-07E1-4588-8DBD-80D5B3D48566}" type="datetime'''''''3''''''''''''''''''''''''''''''''''''''''''''''0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10601DD1-8117-45A2-9379-4A817853B2EC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8478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88BFCD0-7415-4EC8-93F4-EA2D282B4C3B}" type="datetime'''''0''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9C884B34-AEBF-42E1-B6A0-73B4A15F0102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20637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29AD7B3-9DC6-41DE-86B6-987DBF8C2BA8}" type="datetime'''''''''''''''''''''1''''''''3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6BFB3587-1C26-41B1-9488-024517F85749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22796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BE2C0D9-ED5A-4509-A973-9DA9FAC75894}" type="datetime'''''2''''''''''''''''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2D5230FA-8B9A-4E7E-84EF-7CEB0A1AE1BA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24971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653AAAD-16FB-4078-8E58-F0196A8FC64E}" type="datetime'''''2''''''''''''''''''''''''''''7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4F2848F6-8049-4613-842C-F60F16B14B4B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7130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5283D8-608A-4F71-9B01-48821A141CA6}" type="datetime'''''''''''''''''''''''''''''0''''''''''''''''4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93BD7E39-BDA8-487B-AFA7-D0DDD3696077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9289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1A24D0C-A98E-4471-96F2-227460B552BF}" type="datetime'''''1''''''''''''''''''''''''''''''''''1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BBE9B52F-2111-413A-BB06-902829604C59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31448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2FF0A9A-DB42-45F0-860F-93FCF998177C}" type="datetime'''''''''''''''''''''''''''''''''''''''''''1''''''''8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AE5C16A4-C1D9-4EB9-AAA6-5E115BEEDFAB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33623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B635A0F-B762-4420-822F-B38BE5BDCA82}" type="datetime'''''''''''''''''''''''''''''''''''''2''5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AB7F9243-78B4-4445-85B3-9D3B5967FC23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35782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2F113A5-2FE3-4E0B-9086-38FBE644577C}" type="datetime'0''''''''''''''''''1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37731812-3462-48D7-80B0-127DAF64C907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7941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A3AD29B-DC57-454E-A4E3-C0EB8144393D}" type="datetime'0''8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CBB4C8BA-AB4F-4B33-9469-28B88E747A2A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40100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289AD4F-B8C0-4E21-9C76-48C8A97C6AA1}" type="datetime'''''''1''''''''''5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F388E2B1-A218-4168-96C5-31A28B84C907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42275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5C4EDE1-3450-4E97-8090-26677527C15F}" type="datetime'''''''''''2''''''2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604E8FB6-1A69-487E-9E34-E75B373C8C8A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44434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23EFFFA-6777-4E7E-92F2-85B8F7967C76}" type="datetime'''''''''''''''''''''''''''''''''''2''''''9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3183D084-A135-4DDC-8700-EC0BF3B032F2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6593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683EFC2-1CFF-4421-B9E5-5A8093A7A250}" type="datetime'''''''''''''''''0''5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6C3FD605-88E2-4640-93F0-A081799C0108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8752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367E4F7-B9C8-4165-BC85-952833E13641}" type="datetime'1''''''''''''''''''''''''''''''''''''''''2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9AC7E491-6784-48FF-944C-F0EB2FD05FD0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50927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91F125F-9066-441A-9641-5DCC9E3EFE84}" type="datetime'1''''''''''''''''''''''''''''''''''''9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D95ACBB4-5321-4CBE-85D0-1B0AA00DB513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53086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308CDEB-7079-4437-BBF1-DE6CA90B31AF}" type="datetime'''''''''''''''''''''''''2''''''''''''''''''''6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0204CA7D-29F2-4FF7-B095-37354B7F0EA6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55245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B1D341E-1825-4EDF-9C9E-1120A8C8E15C}" type="datetime'''''''''''''''''''''''''05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B84D5124-EE9A-48C0-8507-823925BC7CC7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7404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BAB64E4-D122-491A-AC25-EB932FA0709D}" type="datetime'''''''''''''''''''''''''''1''''''''2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28AE03CB-2A5F-4C4D-8369-725DFB3EB29A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9578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7221C96-9432-45DE-BA68-FAA5319FBB0A}" type="datetime'''''''''''''''1''''''''''9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9F0E808F-7167-485D-9D8A-E4B9B2AA0B33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61737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8E73B74-9E2D-4386-B486-86B6DECCE004}" type="datetime'''''2''''''''''''''''''''''''''''6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88301298-C0DA-4DC9-8D7E-381F42F0C201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63896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417F386-5CD9-4756-9D19-7AE4E85BF688}" type="datetime'''''''''''''''''''''''''''''0''''''2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65B45BC4-8155-4723-9582-01BF2A8EC177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66055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8C1F33A-2CBC-4D43-9201-7C87F1F4106C}" type="datetime'''''''''''0''''9''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62373760-D562-4573-9444-12227161C2C4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8230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9277E9A-178B-4CC8-9BC2-A187AD6785AC}" type="datetime'''''''''''''''''''''''''1''''''''''''''''''''''''''''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5D7BC0D9-2705-4A72-A438-21BFF5FB6AE6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70389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CF6D135-2E26-4D4C-B066-AC11D539D76F}" type="datetime'''''''''2''''''''''''''''''''''''3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00D2C17A-0EED-4CA4-8BFA-DC09BCF89456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72548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80C8A69-1791-4232-A78D-377D865B2D32}" type="datetime'''''''''''''''3''''''''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13996325-9909-479D-AE82-C730ED8D9E94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74723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AF8D989-05F2-4BC8-8041-B1D9A5E72977}" type="datetime'''''''0''''''7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4B07E461-6B1C-4639-B454-E18A88EC7CAE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6882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02F9C4D-44AB-4860-A5C2-BAC7B35B0A76}" type="datetime'''''1''''''''''4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B041997D-B9FE-463A-BC0B-5C69A50B3F82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9041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CDA474A-605B-4284-B0E2-B05C8B06A92E}" type="datetime'''''2''1''''''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0ED4EA88-2DFD-4954-9FFE-BA46FF185759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81200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0F02805-1F5C-42D2-80AA-DF604E4E69B4}" type="datetime'''''''''''''''''2''''''''''''''''''''''''''8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1AF6BC57-C60E-4CE1-982A-3C816F225E1A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83375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7CB84AF-98E6-43C0-AD43-71AA4C6C0974}" type="datetime'''''''''''''''''''0''''''''''''''''''''4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9F69E034-E8F4-45B6-A1CE-EE7D378F3C17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85534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D939F9B-5BDC-4365-B458-A84736D3E973}" type="datetime'''1''1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7CA74AE-9F21-4305-9AA7-774715F56958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7693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214966C-EB8F-4FBE-8B1F-7C98A98B5108}" type="datetime'''''1''''''''''''''8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43DC296C-DD71-4E4B-9B1A-E2754040C438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9852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594D2F8-E80A-48F8-A4CF-0B0135553798}" type="datetime'''''''''''''''''''''''''2''''''''''''''''''''''''5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A2422F8D-37F2-4D6C-9706-CCED55801EE6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92027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C80D3FD-4495-4818-8930-BCC29F188245}" type="datetime'''''0''''''''''''''''2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3642FFE3-B2EA-4987-89D0-5107A5C925DD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94186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24BAF94-9F82-4B51-A9F0-EBEB608E0856}" type="datetime'''0''''9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655C36E8-98B6-4A24-A5C7-0FF970A94CAC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96345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62DE53C-756D-4398-9DCB-8FA4B5DAC429}" type="datetime'''''''''1''''''''''''6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343A69FC-B351-4080-9C32-F525AFBEDC54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8504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19174C2-1143-4093-9498-1C409EE7CE72}" type="datetime'''''''''''2''''''''''''3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7FC8F666-11B0-4978-BCA7-5F93C2860149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100679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FF1D1A4-38AA-44C0-B88C-427CFF408660}" type="datetime'''''''''''''''3''''''''''''''''''''''''''''''''0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D77797B4-F5D3-4798-892B-0B39D53CFB2E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102838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4CDB388-9A24-448E-B35A-5B4C80845DF4}" type="datetime'''''''''''0''''''''''''6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93211265-2B78-4ADE-ACFD-20A61C54A136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104997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71A476C-5230-424B-8995-E35757873067}" type="datetime'''''''''''''''''''''''''''''''''''1''''''''''''''3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EBF38098-2DAF-4F09-BBC3-AD1636DD9EA6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7156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AB5DFCA-6E76-49DA-8C91-55AA6576708E}" type="datetime'''''''''''2''0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862E2ED8-E43B-40A0-8E05-339AA3523D2F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9331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ED9144D-EE98-4C8E-8C45-CE653A217528}" type="datetime'''''''''''''27''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16BE064F-9B6C-4216-947E-1CBBB37707A1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11490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BE1FE7C-FFD3-4F88-9A1D-0036981FA08C}" type="datetime'''''''''0''''''''''''''3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00C3B6DB-6203-49AE-B530-2032B1E7E017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13649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4E3946D-9FF0-4DDF-8330-2686D13BEEFC}" type="datetime'''''''''''''''''1''''''''''''0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3F06CCA1-5757-40EF-94AC-5FE0093375B2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15808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0A71636-409A-4E22-96ED-17C67EBA0A8E}" type="datetime'1''''''''''''''''''''''''''''''''7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62AC1CA8-7827-4080-B42A-02966A6E6A07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7983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A5F6DF0-19BA-4D97-B86B-0CF8F8CF22CB}" type="datetime'''''''''''''''''2''''''''''''''4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72"/>
            </p:custDataLst>
          </p:nvPr>
        </p:nvCxnSpPr>
        <p:spPr bwMode="auto">
          <a:xfrm>
            <a:off x="26193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73"/>
            </p:custDataLst>
          </p:nvPr>
        </p:nvCxnSpPr>
        <p:spPr bwMode="auto">
          <a:xfrm>
            <a:off x="35782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62E4FCB-643F-4757-B84D-551AECA901C3}"/>
              </a:ext>
            </a:extLst>
          </p:cNvPr>
          <p:cNvCxnSpPr/>
          <p:nvPr userDrawn="1">
            <p:custDataLst>
              <p:tags r:id="rId74"/>
            </p:custDataLst>
          </p:nvPr>
        </p:nvCxnSpPr>
        <p:spPr bwMode="auto">
          <a:xfrm>
            <a:off x="45354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73501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12014200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7A3DA983-D033-4649-BC02-ECE3BA83E236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54006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28416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16922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B9411E4-C925-4FBE-AEA5-FD3D604548BE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63595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1B52045-EA44-411E-BA8D-4F662CF4E875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72866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78ADB83-4996-4BD2-B9DC-7CA89B1EE186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82438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B7DC055-68F6-421C-9B39-39D562705D83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91709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6795159-BAE4-4398-A367-3034280A170E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101298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AC06E72-989E-4FF8-B2EB-869D9F01DC62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1108710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284163" y="476567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284163" y="307975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13954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90"/>
            </p:custDataLst>
          </p:nvPr>
        </p:nvSpPr>
        <p:spPr bwMode="auto">
          <a:xfrm>
            <a:off x="325438" y="1263650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91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92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3" name="Text Placeholder 4">
            <a:extLst>
              <a:ext uri="{FF2B5EF4-FFF2-40B4-BE49-F238E27FC236}">
                <a16:creationId xmlns:a16="http://schemas.microsoft.com/office/drawing/2014/main" id="{67EAB526-29E1-4165-87FC-5211E6FAF2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6200000">
            <a:off x="-273505" y="2064270"/>
            <a:ext cx="1566222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84" name="Text Placeholder 4">
            <a:extLst>
              <a:ext uri="{FF2B5EF4-FFF2-40B4-BE49-F238E27FC236}">
                <a16:creationId xmlns:a16="http://schemas.microsoft.com/office/drawing/2014/main" id="{48B8805E-9737-4C6B-BBBF-783E4D5ADA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 rot="16200000">
            <a:off x="-273505" y="3765489"/>
            <a:ext cx="1566222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85" name="Text Placeholder 4">
            <a:extLst>
              <a:ext uri="{FF2B5EF4-FFF2-40B4-BE49-F238E27FC236}">
                <a16:creationId xmlns:a16="http://schemas.microsoft.com/office/drawing/2014/main" id="{768E89D3-6925-4AAE-8E32-4B5051B3D1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 rot="16200000">
            <a:off x="-273505" y="5436119"/>
            <a:ext cx="1566222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3336445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Lane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Slide" r:id="rId96" imgW="360" imgH="360" progId="TCLayout.ActiveDocument.1">
                  <p:embed/>
                </p:oleObj>
              </mc:Choice>
              <mc:Fallback>
                <p:oleObj name="think-cell Slide" r:id="rId96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2659063"/>
            <a:ext cx="11730037" cy="1263650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5186363"/>
            <a:ext cx="11730037" cy="1263650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E9770D5-5CD9-4C43-A300-172B097628D1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735013" y="982663"/>
            <a:ext cx="849788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BF0DFD-E272-4E7E-933A-82534E2730F3}" type="datetime'''''''''2''''''''''''''''''''0''''''''''''2''2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F7A5921E-E9AC-427A-B514-28F5E0503BD6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9232900" y="982663"/>
            <a:ext cx="278130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1B2D677-76E1-410E-A054-486F3B3ABAE1}" type="datetime'''''''''2''''''''''0''''''''2''''''''''''''''''''''''3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0F81C145-2690-4C94-8454-8AA21CEB3334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735013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E2DD7EE-F686-4C6A-B8EC-2CDC3C3599CA}" type="datetime'''''''''''''''''''A''''''''''''''''p''''''''r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BB989622-68CA-469E-B3CF-6CE2E896CF4A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1662114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52EF1F3-DC74-4B3F-B72C-7FE50606F30B}" type="datetime'''''''M''''''a''''''''''''y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427BAAC6-BA67-4FA9-ABB6-5BA526564948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261937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CDB3BBD-926C-4DA3-973F-8E1FFFD45C61}" type="datetime'''''''''''''''''''''J''''''''''''u''''''''n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0A123007-420C-40AD-8DFF-BE9525D2CD8B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35464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DCC2C1-E93C-498F-9859-6879A8DC1BC0}" type="datetime'''J''''''''''''''''u''''''''''''''''''''''''''''''l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E763AC1A-6E2F-4C70-915A-E1BC350F73A5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4505326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5E584A6-2FD6-44C1-BAE8-A54E63F003BE}" type="datetime'''A''''''''''''''''''''''''''u''''''''''''g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8FF1FC96-21E5-44A1-9CF5-3EE27953167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546258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F8A308C-4A35-4444-8B53-C618C95AC8FB}" type="datetime'''''''''''''''S''''''''''''''''e''''''''p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492FE129-58CF-4023-9BAD-B3597B447B17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6389688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7CFE4CB-19DB-425B-987E-80246FFAEA48}" type="datetime'O''''''c''t''''''''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0703ABE9-73AB-49CF-B326-09D5317E2EDD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734853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664E844-9DC9-4AD8-8D6C-D3DDDABD74D8}" type="datetime'''''''''''''''''''''''''N''''''o''''''''v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DC87511B-0D13-4CB4-A32E-A6485116254D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8275639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5CE93E7-8A31-4BA8-8772-B5BE9BA5CC6B}" type="datetime'''''''''''''''''''''D''ec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E604F5A1-6635-480B-A1FF-FC2FDAC56BFE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9232900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CDDC827-6F4E-46A7-914A-2FE2FE6D71F1}" type="datetime'''Ja''''n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055FABC3-87A9-4A86-8EE5-F83E4BA83C1E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10191750" y="1133475"/>
            <a:ext cx="86518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C209148-64E7-4D4F-A0D2-C43ABFE23260}" type="datetime'''''''''''Fe''''''''''''''''''''''''''''b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4969E8E7-E931-4F26-86F6-2504BE539942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11056939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DAA3707-80AC-4E6C-A54D-70F8DBC4ECC5}" type="datetime'''''''''''''''''''''''''''''''''M''''''a''''''''''r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C353B356-4523-4EBB-8BB5-4BEE486EFDA8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735014" y="1284288"/>
            <a:ext cx="6191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5609A8C5-6F5A-4550-B22E-654B7E2101C4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7969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D8F118-CBBD-4762-817A-055703699BA9}" type="datetime'''''''''''''''''''''''''''''''''''''''''0''''''''3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A1943558-0C92-4E99-A787-BBB1C8828EFB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10128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259F03-6E18-4779-930F-251F417874E6}" type="datetime'''''1''''''''''''''''''''''''''''''''''''''''0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0CDCFC8-95BF-4577-92F4-D3D1D21F219B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12287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343E31A-C26F-475F-B860-FC899D288650}" type="datetime'''''''''''''''''1''''''''''''''''''''''''''''''7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EC14448-42E8-45BE-8DA8-EF845841B2C0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4462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0240EFC-0EBE-4EE6-B9EE-C4C9CF945042}" type="datetime'''''''''''''''''''''''''''''''''''''''''''''2''''''''''4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95C90B70-E522-40BB-808D-E77C9CED9CA5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6621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7F93BE0-24ED-4A39-9962-731338525248}" type="datetime'''''''''''''''''''0''''''''''''''''''''''''''''1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400093FB-249D-4F1E-9815-FBB2F5130F10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18780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634AEB2-ECD3-4E25-B83D-6FF7BC146DA3}" type="datetime'''''''''0''''''''''''''''''''''''''''''8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FF192964-A361-4542-8CE1-C9EF7E8185B2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20939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35717EC-5376-4304-BAC0-217532DD523A}" type="datetime'''''''''1''''''''''''''''''''5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B7FCF34C-1B18-4A4F-891A-39EBA462013A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23114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2B21F7C-B124-4E92-B6E2-DC3328677F28}" type="datetime'''''''''''''''''''''2''''''''''2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0C44E939-8B94-4731-A750-C2E3E393116D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5273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9B20D4F-E2C9-4017-9693-D1E781E4FCB4}" type="datetime'''''''''''''29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F46E74E0-4873-4A93-B09A-A7B619A27EBE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7432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DEA1314-9A91-4D14-816A-FE88681B58DF}" type="datetime'''0''5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C0D6DC35-6D76-4F8F-8256-FD78110ED1F0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29606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2DFAD3A-7041-4715-86CA-C20D966C06D0}" type="datetime'''''''''''''''''''''''1''''''''''2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3E13995B-8198-415A-9156-E015150B61B7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31765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BF7D18D-8A61-4761-AEA5-DB3A1DAFFC81}" type="datetime'''''''''''''''''''''''''''''1''''9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448A726D-607A-46CC-AA6A-FE7C8D4D2966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33924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708B8A3-74D1-447A-9328-0832107227B6}" type="datetime'''''''''''''''''''2''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12ECE431-48F4-4504-A521-88F3E41B33F2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6083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0D8ABB-9C25-409B-8FBF-7EAC8AEB9F21}" type="datetime'''''''''''''''0''3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259CDD20-6560-4A24-80A9-B2EA2AA7A9D4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8258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ABDCD07-E733-4073-9D55-D6B50AE9776B}" type="datetime'''1''''''''''''''''''''''''''''''''''''''''''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88086E06-1D2A-43FC-AC66-D79253D6C3B1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40417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67D064E-5417-42DE-BA89-6F70088F316C}" type="datetime'''''''1''''''''''''''''''''''''7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9381CBBF-CF58-43C5-B7D4-029DE12B23CB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42576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53433C-5DF8-47BF-B2C1-0A9734FC607B}" type="datetime'''''2''''''4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598338B8-9942-4BCA-85E0-7CD5F7082476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4735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FEFEA56-AA84-44AA-9808-87D60AD48A97}" type="datetime'3''''''''''''''''''''1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A4C53999-B28C-4AF5-A5C7-02CECC22A256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6910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D7D972C-E1E2-4B32-9900-65EC6886727D}" type="datetime'''''''''''''''''''''''''''''''0''''''7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2644BAC8-9E18-4B2D-8E34-EA6B2BF60ABD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49069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439854F-D285-403C-B9CC-63064F4BB411}" type="datetime'''''1''''''''''''''''''''''''4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F971FCA5-1354-4C27-8072-64371EBE8B71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51228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EC04CCB-20D5-404C-BA84-E4F77D7CA1C4}" type="datetime'''''''''''2''''''''1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3D6FEEDB-DA49-458D-851A-6D68F6A1A1BD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53387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ADFCA40-8646-4713-B527-FF1DD6D727EC}" type="datetime'''''''28''''''''''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7D667C34-E85D-4382-8FB4-E5FF1B6B73B0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5562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28230CE-3D3B-4688-B445-08F75031FFFB}" type="datetime'''''''''''0''4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9EF53C4F-8AEE-4CF9-B736-DC3C34F01719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7721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BD7197D-75A7-4C00-85B8-F616C25424B0}" type="datetime'''''''''''''''''''''''1''''''''''''''''''''''''''''1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CE20CBCE-B940-4544-96CA-F65E2FE73C3E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59880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0D5222A-06DE-4791-8BB4-B5CDBA6A1C46}" type="datetime'''1''''''''''''''''''''''''''''''''''''''''''8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8A5A77BE-BF67-4D66-B909-FAB507DF98CD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62039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3D24FCB-C20A-418D-81DC-B1D8191658A6}" type="datetime'''''''''''''''''''''''''''''''''''''''''''''''''2''5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AA6944D8-0091-41CE-B7D9-8FB297E31456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64214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64E63D0-DC65-494B-B633-F7AFD0D3E540}" type="datetime'''''''''''''''''''0''''''''''''''''''''''''''2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E7C6D009-AD19-4122-9A69-3AFCCF75C03E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6373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0D3F951-FC69-4796-8A9B-91E4EEEF5973}" type="datetime'''''''''''0''''''''''''''''''''''''''''9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7C980DB6-F45E-430E-B7A9-DB02E0D66F1E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68532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B0202F-AC3B-4D55-87B1-468F893BF2E4}" type="datetime'''''''''''''''''''''''''1''''''''''''''''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B9DF412D-877B-40D4-A9CD-789F2866F332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70691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659EF40-4FD8-45DB-8AE3-535EA858EA5F}" type="datetime'''''''''''''''''''''''''''''''''2''''''''''3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31D24ABB-C166-4D47-B068-995A120E28CE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72866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EC89356-07E1-4588-8DBD-80D5B3D48566}" type="datetime'''''''3''''''''''''''''''''''''''''''''''''''''''''''0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10601DD1-8117-45A2-9379-4A817853B2EC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5025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88BFCD0-7415-4EC8-93F4-EA2D282B4C3B}" type="datetime'''''0''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9C884B34-AEBF-42E1-B6A0-73B4A15F0102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7184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29AD7B3-9DC6-41DE-86B6-987DBF8C2BA8}" type="datetime'''''''''''''''''''''1''''''''3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6BFB3587-1C26-41B1-9488-024517F85749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79359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BE2C0D9-ED5A-4509-A973-9DA9FAC75894}" type="datetime'''''2''''''''''''''''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2D5230FA-8B9A-4E7E-84EF-7CEB0A1AE1BA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81518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653AAAD-16FB-4078-8E58-F0196A8FC64E}" type="datetime'''''2''''''''''''''''''''''''''''7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4F2848F6-8049-4613-842C-F60F16B14B4B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83677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5283D8-608A-4F71-9B01-48821A141CA6}" type="datetime'''''''''''''''''''''''''''''0''''''''''''''''4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93BD7E39-BDA8-487B-AFA7-D0DDD3696077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5836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1A24D0C-A98E-4471-96F2-227460B552BF}" type="datetime'''''1''''''''''''''''''''''''''''''''''1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BBE9B52F-2111-413A-BB06-902829604C59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8011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2FF0A9A-DB42-45F0-860F-93FCF998177C}" type="datetime'''''''''''''''''''''''''''''''''''''''''''1''''''''8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AE5C16A4-C1D9-4EB9-AAA6-5E115BEEDFAB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90170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B635A0F-B762-4420-822F-B38BE5BDCA82}" type="datetime'''''''''''''''''''''''''''''''''''''2''5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128517ED-805F-43C0-BFC6-0B08D17C662E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92329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DCC5A62-A938-451C-AD41-93948AFA6559}" type="datetime'''''''''''''''''''''''''''''''''''''0''''''''''''''''''1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8FF3C119-CB14-4165-8510-419A96F86583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94488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BC0CD0-D129-423D-8051-02A0BE29F5EF}" type="datetime'0''''''8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399CC7E9-3100-4D0D-B9B4-7B86E3F7853B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6662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1C79157-E004-4725-849E-09CAFA2B98EB}" type="datetime'''''''''''''''''''1''''''''''''''''''''5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F6A29944-497E-4D01-AE01-ECB093B9A13E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98821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B9B05C4-0DEA-41C9-8D91-425AFEBFD211}" type="datetime'''''''''''2''''2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36F5EE4A-D058-4E62-AA49-A9ADA78ACC4D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100980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CD50E1E-BA2B-4CDC-B44A-9E6938AFC79D}" type="datetime'''''2''''''''''''''''''''''''''''''''''''''''''''''''''9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6D3BD8DE-EC59-4AAB-882D-9BBF2DA92900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103139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455B583-9E51-4742-A82F-564D29366F25}" type="datetime'''''''''''''''''''''''''''0''''5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164F6BD3-6BEA-40FD-A4F8-2FF7AF8ECD27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5314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994654-C32C-4778-965F-4608DD047944}" type="datetime'''''''''''''''''''''''''''''1''''''''''''2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8474FD40-E368-458D-B85C-D14D3ED17AAB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7473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3265B7B-1B21-4115-A591-D359A0E62D1A}" type="datetime'''''''''''''''''1''''''''''''''''9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EE0E9998-4061-40D9-966D-8ADB41659DD5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09632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029497C-06EA-431D-B3F1-29AAD1C41E0B}" type="datetime'''''''''''''''''''''''''''2''''''''''6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E0104FAA-4BBA-495D-B931-65656A88DD4D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11791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941E13C-8E27-4EED-89F7-454247CE0497}" type="datetime'''''''''''''''''''0''''''''5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0DC9BE3D-0904-4EAE-847A-5A9C4A5E3E00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13966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BE73AE4-B09E-4CE1-87D1-8C847624FC51}" type="datetime'''''''1''''''''''''2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076A4673-EB41-40AC-B909-C832731B1E92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6125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8ACE0E-36C7-4D1B-916F-ED8F8F4C8BF5}" type="datetime'''''''''''''''''''''''''''''''''''''''''''''1''''''''9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5D495550-C1D4-4B27-933B-934951F3A768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11828463" y="1284288"/>
            <a:ext cx="18573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944CCD9-0D0C-4B5F-B5E6-ECE32DC8A645}" type="datetime'''''''''''''''''2''''''''''''''''''''''''''''''''''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7A3DA983-D033-4649-BC02-ECE3BA83E236}"/>
              </a:ext>
            </a:extLst>
          </p:cNvPr>
          <p:cNvCxnSpPr/>
          <p:nvPr userDrawn="1">
            <p:custDataLst>
              <p:tags r:id="rId73"/>
            </p:custDataLst>
          </p:nvPr>
        </p:nvCxnSpPr>
        <p:spPr bwMode="auto">
          <a:xfrm>
            <a:off x="54625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74"/>
            </p:custDataLst>
          </p:nvPr>
        </p:nvCxnSpPr>
        <p:spPr bwMode="auto">
          <a:xfrm>
            <a:off x="12014200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28416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35464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FF895C1-7674-45C5-AF9C-64F0B3A89071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82756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5144A81D-1ABA-4C94-A894-C7F2F32151C2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73485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DF5E5695-9F3F-4F82-8D30-52EBF856E1A1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63896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62E4FCB-643F-4757-B84D-551AECA901C3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45053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1662113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73501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26193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267949F-8947-4C53-B6C6-EFB39FEE063C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1019175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206A9E0-A869-492B-AD7C-0F27572253B5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923290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A5DBA1C-BE9E-4301-AA4B-140767151505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110569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284163" y="265906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284163" y="518636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392271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13954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92"/>
            </p:custDataLst>
          </p:nvPr>
        </p:nvSpPr>
        <p:spPr bwMode="auto">
          <a:xfrm>
            <a:off x="325438" y="1263650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93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94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3" name="Text Placeholder 4">
            <a:extLst>
              <a:ext uri="{FF2B5EF4-FFF2-40B4-BE49-F238E27FC236}">
                <a16:creationId xmlns:a16="http://schemas.microsoft.com/office/drawing/2014/main" id="{67EAB526-29E1-4165-87FC-5211E6FAF2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6200000">
            <a:off x="-25269" y="1865866"/>
            <a:ext cx="106975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0" name="Text Placeholder 4">
            <a:extLst>
              <a:ext uri="{FF2B5EF4-FFF2-40B4-BE49-F238E27FC236}">
                <a16:creationId xmlns:a16="http://schemas.microsoft.com/office/drawing/2014/main" id="{543F4CE9-00F8-4F6F-8318-045D00C438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6200000">
            <a:off x="-25269" y="3140560"/>
            <a:ext cx="106975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0C703D68-C70B-4937-A8D9-EDBD8A5103A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6200000">
            <a:off x="-25269" y="4415254"/>
            <a:ext cx="106975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7B3C31E7-954D-42B9-840E-0BD765CE21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 rot="16200000">
            <a:off x="-25655" y="5689947"/>
            <a:ext cx="106975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2840184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3_4 Lane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9" name="think-cell Slide" r:id="rId96" imgW="360" imgH="360" progId="TCLayout.ActiveDocument.1">
                  <p:embed/>
                </p:oleObj>
              </mc:Choice>
              <mc:Fallback>
                <p:oleObj name="think-cell Slide" r:id="rId96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5186363"/>
            <a:ext cx="11730037" cy="1263650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2659063"/>
            <a:ext cx="11730037" cy="1263650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E9770D5-5CD9-4C43-A300-172B097628D1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735014" y="982663"/>
            <a:ext cx="284321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BF0DFD-E272-4E7E-933A-82534E2730F3}" type="datetime'''''''''2''''''''''''''''''''0''''''''''''2''2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F7A5921E-E9AC-427A-B514-28F5E0503BD6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3578225" y="982663"/>
            <a:ext cx="8435975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1B2D677-76E1-410E-A054-486F3B3ABAE1}" type="datetime'''''''''2''''''''''0''''''''2''''''''''''''''''''''''3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492FE129-58CF-4023-9BAD-B3597B447B17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735013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7CFE4CB-19DB-425B-987E-80246FFAEA48}" type="datetime'O''''''c''t''''''''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0703ABE9-73AB-49CF-B326-09D5317E2EDD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169227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664E844-9DC9-4AD8-8D6C-D3DDDABD74D8}" type="datetime'''''''''''''''''''''''''N''''''o''''''''v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DC87511B-0D13-4CB4-A32E-A6485116254D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26193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5CE93E7-8A31-4BA8-8772-B5BE9BA5CC6B}" type="datetime'''''''''''''''''''''D''ec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E604F5A1-6635-480B-A1FF-FC2FDAC56BFE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3578225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CDDC827-6F4E-46A7-914A-2FE2FE6D71F1}" type="datetime'''Ja''''n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055FABC3-87A9-4A86-8EE5-F83E4BA83C1E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4535488" y="1133475"/>
            <a:ext cx="86518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C209148-64E7-4D4F-A0D2-C43ABFE23260}" type="datetime'''''''''''Fe''''''''''''''''''''''''''''b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4969E8E7-E931-4F26-86F6-2504BE539942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54006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DAA3707-80AC-4E6C-A54D-70F8DBC4ECC5}" type="datetime'''''''''''''''''''''''''''''''''M''''''a''''''''''r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514A8EDF-868B-478F-B8D3-20017186B87A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635952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F5CE16E-39CF-40DA-9EE1-13A0D1532E8B}" type="datetime'''''''''''''Ap''''''''''''''''''''''''''r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4D1BD7CB-3B82-4936-A631-8D37F7C60462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7286625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DD10EDE-D12C-4094-9EE0-DBA21D301DB9}" type="datetime'''''''''''''''''M''''''''''''''''''''''''''''''''''''a''y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5212513C-1196-4040-935E-E8D84A65B1C5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824388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96CFC14-3846-4098-A665-CC4F91967E41}" type="datetime'''''''''J''''''u''''''''''''n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29B14825-ECF7-4A8B-83A8-D6E17F87EFE8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9170988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4C7D4E4-5958-4E5E-9AA0-60E1422E6272}" type="datetime'''Ju''''''''''l''''''''''''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AFD835E3-3FAB-441F-938B-EA709273063E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10129838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7CB4BD4-4D90-4B3C-B59C-16B70E29FD42}" type="datetime'''''''''''''A''''''''''''''u''''''''''''''g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EA002B6F-0BC6-4731-BD56-97ADEFEBA134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11087100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706ED27-0AFB-46AE-85AA-95661399E41F}" type="datetime'S''''''''''''''e''''p''''''''''''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8A5A77BE-BF67-4D66-B909-FAB507DF98CD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735013" y="1284288"/>
            <a:ext cx="301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AA6944D8-0091-41CE-B7D9-8FB297E31456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7651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64E63D0-DC65-494B-B633-F7AFD0D3E540}" type="datetime'''''''''''''''''''0''''''''''''''''''''''''''2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E7C6D009-AD19-4122-9A69-3AFCCF75C03E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9826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0D3F951-FC69-4796-8A9B-91E4EEEF5973}" type="datetime'''''''''''0''''''''''''''''''''''''''''9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7C980DB6-F45E-430E-B7A9-DB02E0D66F1E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11985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B0202F-AC3B-4D55-87B1-468F893BF2E4}" type="datetime'''''''''''''''''''''''''1''''''''''''''''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B9DF412D-877B-40D4-A9CD-789F2866F332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4144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659EF40-4FD8-45DB-8AE3-535EA858EA5F}" type="datetime'''''''''''''''''''''''''''''''''2''''''''''3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31D24ABB-C166-4D47-B068-995A120E28CE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6319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EC89356-07E1-4588-8DBD-80D5B3D48566}" type="datetime'''''''3''''''''''''''''''''''''''''''''''''''''''''''0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10601DD1-8117-45A2-9379-4A817853B2EC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18478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88BFCD0-7415-4EC8-93F4-EA2D282B4C3B}" type="datetime'''''0''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9C884B34-AEBF-42E1-B6A0-73B4A15F0102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20637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29AD7B3-9DC6-41DE-86B6-987DBF8C2BA8}" type="datetime'''''''''''''''''''''1''''''''3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6BFB3587-1C26-41B1-9488-024517F85749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22796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BE2C0D9-ED5A-4509-A973-9DA9FAC75894}" type="datetime'''''2''''''''''''''''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2D5230FA-8B9A-4E7E-84EF-7CEB0A1AE1BA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4971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653AAAD-16FB-4078-8E58-F0196A8FC64E}" type="datetime'''''2''''''''''''''''''''''''''''7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4F2848F6-8049-4613-842C-F60F16B14B4B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7130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5283D8-608A-4F71-9B01-48821A141CA6}" type="datetime'''''''''''''''''''''''''''''0''''''''''''''''4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93BD7E39-BDA8-487B-AFA7-D0DDD3696077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29289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1A24D0C-A98E-4471-96F2-227460B552BF}" type="datetime'''''1''''''''''''''''''''''''''''''''''1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BBE9B52F-2111-413A-BB06-902829604C59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31448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2FF0A9A-DB42-45F0-860F-93FCF998177C}" type="datetime'''''''''''''''''''''''''''''''''''''''''''1''''''''8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AE5C16A4-C1D9-4EB9-AAA6-5E115BEEDFAB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33623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B635A0F-B762-4420-822F-B38BE5BDCA82}" type="datetime'''''''''''''''''''''''''''''''''''''2''5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128517ED-805F-43C0-BFC6-0B08D17C662E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5782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DCC5A62-A938-451C-AD41-93948AFA6559}" type="datetime'''''''''''''''''''''''''''''''''''''0''''''''''''''''''1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8FF3C119-CB14-4165-8510-419A96F86583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7941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BC0CD0-D129-423D-8051-02A0BE29F5EF}" type="datetime'0''''''8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399CC7E9-3100-4D0D-B9B4-7B86E3F7853B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40100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1C79157-E004-4725-849E-09CAFA2B98EB}" type="datetime'''''''''''''''''''1''''''''''''''''''''5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F6A29944-497E-4D01-AE01-ECB093B9A13E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42275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B9B05C4-0DEA-41C9-8D91-425AFEBFD211}" type="datetime'''''''''''2''''2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36F5EE4A-D058-4E62-AA49-A9ADA78ACC4D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4434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CD50E1E-BA2B-4CDC-B44A-9E6938AFC79D}" type="datetime'''''2''''''''''''''''''''''''''''''''''''''''''''''''''9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6D3BD8DE-EC59-4AAB-882D-9BBF2DA92900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6593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455B583-9E51-4742-A82F-564D29366F25}" type="datetime'''''''''''''''''''''''''''0''''5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164F6BD3-6BEA-40FD-A4F8-2FF7AF8ECD27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48752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994654-C32C-4778-965F-4608DD047944}" type="datetime'''''''''''''''''''''''''''''1''''''''''''2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8474FD40-E368-458D-B85C-D14D3ED17AAB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50927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3265B7B-1B21-4115-A591-D359A0E62D1A}" type="datetime'''''''''''''''''1''''''''''''''''9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EE0E9998-4061-40D9-966D-8ADB41659DD5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53086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029497C-06EA-431D-B3F1-29AAD1C41E0B}" type="datetime'''''''''''''''''''''''''''2''''''''''6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E0104FAA-4BBA-495D-B931-65656A88DD4D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5245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941E13C-8E27-4EED-89F7-454247CE0497}" type="datetime'''''''''''''''''''0''''''''5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0DC9BE3D-0904-4EAE-847A-5A9C4A5E3E00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7404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BE73AE4-B09E-4CE1-87D1-8C847624FC51}" type="datetime'''''''1''''''''''''2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076A4673-EB41-40AC-B909-C832731B1E92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59578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8ACE0E-36C7-4D1B-916F-ED8F8F4C8BF5}" type="datetime'''''''''''''''''''''''''''''''''''''''''''''1''''''''9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5D495550-C1D4-4B27-933B-934951F3A768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61737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944CCD9-0D0C-4B5F-B5E6-ECE32DC8A645}" type="datetime'''''''''''''''''2''''''''''''''''''''''''''''''''''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1B584A20-F7AC-467F-A552-64B17AAFC37C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63896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121C4D1-3C4D-4CAC-A8EA-FACA2805EDE9}" type="datetime'''''''''''0''''''''''''''''''''2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770BAEB3-E739-4269-9B75-D7D81A2BB357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6055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A36F757-5B5B-4E79-9376-5EED90E4EE26}" type="datetime'0''''''''''''''''''''''''9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F099753C-30B8-434B-A70B-50F2AE813AF3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68230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48F9176-1DED-4EDF-A20E-468340436458}" type="datetime'1''''''''6''''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5884C1C0-2679-4A26-ACFF-98CAE0D20DF0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70389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D6F7288-7D8D-42D7-9A87-7281D6D8A878}" type="datetime'''''''''''''2''''''''''''''''''''''''''3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4D3C2CC9-8970-40CC-A65F-58055F1559A3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72548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86DC81-C026-406A-8D17-917BF43DF295}" type="datetime'''''''''''''3''''''''''''''''''''''0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3E915049-700B-485E-95C7-B5833067B064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4723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6F16B2D-73CC-4A65-863F-A5864631A450}" type="datetime'''''''''''''''''''''0''7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788544A0-73D8-4553-B04B-28F20BD4C3F0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6882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A1CEC37-6375-457A-9B3E-E368F36954E9}" type="datetime'1''''''''''''''4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A2EF9A70-A8F6-4F74-A0FE-D0EE3DB067F9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79041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00C5CD5-CBAE-4EC6-91AC-D925B457B099}" type="datetime'''''''''''''''''''2''''''''''''''''''''''''1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2AA8AE72-EE89-454F-8849-D44A56AA6D36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81200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809A78D-5F38-4F82-96D9-F9B882EB1BF3}" type="datetime'''''''''2''''''''''8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9F96186A-A267-4801-9ACF-0433C68C6957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83375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CC5D88E-22C9-4A2D-A565-9BB4F9911382}" type="datetime'0''''''''''''''''''''''''''''''''''''''''''''''''''4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079E8088-DF37-42AD-9AE0-4077D02FFEE2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5534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429A6C2-3568-44CF-84AC-946BF8AB20C9}" type="datetime'''''''''''''''''''''''''''1''''''''''1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267BC7E5-3044-4C72-B576-103EA2FA7ED8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7693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7B33586-5408-4ADE-87FB-91754A36E779}" type="datetime'''''''''''''''''1''''''''''''''''''''8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AAE370DF-C110-4727-956B-FE8198AF57CE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89852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79EC7FF-0F4F-4AB7-B8F1-320594F4326B}" type="datetime'''''''2''''''''5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9D8C435F-FDD6-4005-86F9-90C2C37D551B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92027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9B14DF3-942E-4F74-AE43-ADD83CAB3748}" type="datetime'''''''''''''''''''''''''0''''''''''''''''''''''''''''''2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2547E192-81F0-4B4F-909D-713732080213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94186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F5E74E8-7F46-4646-8ED0-6DF747E09B5C}" type="datetime'''''''''''''''''''''''''''''''''0''''''''9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0BB78850-0E6A-45C6-963B-E6A8293681B6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6345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034ACC8-778F-4687-A192-09B7B3C59FEB}" type="datetime'''''''''''''''1''''6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F0758E42-8D50-4727-BD59-EEE2F5E9D133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98504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6770976-4F38-45A2-BAF1-398B4D04EC61}" type="datetime'''''''''''''''''''2''3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74E6A292-79D7-4FA5-8B53-603B56538D31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100679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1C0038-C699-444D-AD39-3CF74DC61431}" type="datetime'''''''''''''''''''''''''''''3''''''''''''''''''0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9E6B31CD-E09E-410A-8981-B8D45D15CF57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102838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7CE4683-61C1-4E34-86A8-BDC6B3AFBA45}" type="datetime'''''''''''''''0''6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2C7356CD-70CC-45EB-BD5C-06E60A5D3ADD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4997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A17DC30-0186-4D26-9F4F-D979B99D3B28}" type="datetime'''''''''''1''''''''''3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8FF2413B-EB44-4B6D-8F80-BB067E9802A0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7156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E2EC07C-3656-4801-BDF8-ECFFFB0AB1DB}" type="datetime'''''2''''''''''''''''''''''''''0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940DA829-68DC-4563-AB95-B3DC0DF9FD56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09331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8ADF8FA-0F93-4D38-9E7B-28090BDCFB04}" type="datetime'''''''''''''2''''''''7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072481F6-24D4-45C5-88FB-DDDC3BC3A3BE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11490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2DA2277-D190-4463-BFF6-11C23746FB00}" type="datetime'''''''''''''''''''03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F9EE15F3-52C5-4071-8CC7-AC9E103D646C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13649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8A79AC0-E7F1-447D-A331-4345195A3824}" type="datetime'''''''''''''''''''''''''''''''''''''''1''''''''''''''''''''0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AD33E370-3467-4052-825C-9A84B289DD55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5808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75B1AE3-0471-4709-B97C-0F92DEBB661C}" type="datetime'''''''''''''1''''''''''''''''''''7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A30B642B-5F94-4985-9DA7-02F2614E1276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117983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48F8FC0-F2B7-46F2-B85B-B80A78F474F9}" type="datetime'2''''''''''''''''''4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73"/>
            </p:custDataLst>
          </p:nvPr>
        </p:nvCxnSpPr>
        <p:spPr bwMode="auto">
          <a:xfrm>
            <a:off x="16922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74"/>
            </p:custDataLst>
          </p:nvPr>
        </p:nvCxnSpPr>
        <p:spPr bwMode="auto">
          <a:xfrm>
            <a:off x="26193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35782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73501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12014200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28416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3180635-679F-4399-AA0A-4BEF15ED3AEE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1108710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8320C77-7E9E-4817-A557-EB5832C78502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91709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62E4FCB-643F-4757-B84D-551AECA901C3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45354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7A3DA983-D033-4649-BC02-ECE3BA83E236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54006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6B55DC-01BC-4C35-B6F7-B4E49662FAA5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63595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226F9B6-00C0-464A-A1C2-3FB191A512C6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72866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F725CF-7522-4F3A-B484-2AC4982D92F7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82438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711ADA-732A-4FE9-98DE-02D17732E2A0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101298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284163" y="265906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284163" y="518636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392271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13954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92"/>
            </p:custDataLst>
          </p:nvPr>
        </p:nvSpPr>
        <p:spPr bwMode="auto">
          <a:xfrm>
            <a:off x="325438" y="1263650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93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94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3" name="Text Placeholder 4">
            <a:extLst>
              <a:ext uri="{FF2B5EF4-FFF2-40B4-BE49-F238E27FC236}">
                <a16:creationId xmlns:a16="http://schemas.microsoft.com/office/drawing/2014/main" id="{67EAB526-29E1-4165-87FC-5211E6FAF2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6200000">
            <a:off x="-25269" y="1865866"/>
            <a:ext cx="106975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0" name="Text Placeholder 4">
            <a:extLst>
              <a:ext uri="{FF2B5EF4-FFF2-40B4-BE49-F238E27FC236}">
                <a16:creationId xmlns:a16="http://schemas.microsoft.com/office/drawing/2014/main" id="{543F4CE9-00F8-4F6F-8318-045D00C438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6200000">
            <a:off x="-25269" y="3140560"/>
            <a:ext cx="106975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0C703D68-C70B-4937-A8D9-EDBD8A5103A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6200000">
            <a:off x="-25269" y="4415254"/>
            <a:ext cx="106975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7B3C31E7-954D-42B9-840E-0BD765CE21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 rot="16200000">
            <a:off x="-25655" y="5689947"/>
            <a:ext cx="106975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1642408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Lane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3" name="think-cell Slide" r:id="rId97" imgW="360" imgH="360" progId="TCLayout.ActiveDocument.1">
                  <p:embed/>
                </p:oleObj>
              </mc:Choice>
              <mc:Fallback>
                <p:oleObj name="think-cell Slide" r:id="rId97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2406649"/>
            <a:ext cx="11730037" cy="101123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4427537"/>
            <a:ext cx="11730037" cy="101123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E9770D5-5CD9-4C43-A300-172B097628D1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735013" y="982663"/>
            <a:ext cx="849788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BF0DFD-E272-4E7E-933A-82534E2730F3}" type="datetime'''''''''2''''''''''''''''''''0''''''''''''2''2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C831C53B-2437-4E2D-8561-9FDB0C26D8E9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9232899" y="982663"/>
            <a:ext cx="278130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65D9034-5415-4895-9DC2-A0D55061DD41}" type="datetime'''''2''''''''''''0''''''''''''''''''''''''2''3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0F81C145-2690-4C94-8454-8AA21CEB3334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735013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E2DD7EE-F686-4C6A-B8EC-2CDC3C3599CA}" type="datetime'''''''''''''''''''A''''''''''''''''p''''''''r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BB989622-68CA-469E-B3CF-6CE2E896CF4A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1662114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52EF1F3-DC74-4B3F-B72C-7FE50606F30B}" type="datetime'''''''M''''''a''''''''''''y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427BAAC6-BA67-4FA9-ABB6-5BA526564948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261937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CDB3BBD-926C-4DA3-973F-8E1FFFD45C61}" type="datetime'''''''''''''''''''''J''''''''''''u''''''''n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0A123007-420C-40AD-8DFF-BE9525D2CD8B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35464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DCC2C1-E93C-498F-9859-6879A8DC1BC0}" type="datetime'''J''''''''''''''''u''''''''''''''''''''''''''''''l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2FAD0A3F-74E2-4ACE-A62B-3DBFAF269CB8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4505326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C3B04D-3E4F-41AB-A11A-EEA1AB93A595}" type="datetime'''''''''''''''''''''''''''''''''A''u''''''g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66F93788-E3C5-4AB6-B64B-3ECFB84175B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546258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F74F165-0F08-4DD7-97F4-089321D55EC9}" type="datetime'''''''S''''''''''''''''''''''''e''''''''''''''''''''''''p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35012662-A5F7-410E-9894-D25B4C83891F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6389688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22FB580-297B-4251-A7D2-CCD1D59BC79E}" type="datetime'''''''''''''O''c''t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ABA02641-56A6-4E64-BA08-69738C195BDE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734853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A62E66E-1EAE-41A0-8C3B-A43CAF465751}" type="datetime'No''''''''v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C977021B-D506-417C-B745-FD37389308D1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8275639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B1A32F9-53EC-4159-8D2F-3D445CCE207B}" type="datetime'''''''''D''e''''''''''''''''''c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D6597CE5-E662-44CA-B978-B004A8D94A65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9232900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0A8F1E9-FFA4-4A6F-B745-9DC0A1899282}" type="datetime'''''''''''J''''''''''a''''''''''''''''n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D77F52AF-934A-4448-8F7C-FD3A9196070C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10191750" y="1133475"/>
            <a:ext cx="86518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F84FB00-2A3F-4452-9BA3-BFC97D22DC19}" type="datetime'''''''''''''''''''''''Fe''''''''''''''b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D624CA3E-5771-42FB-9E10-57255981BF5C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11056938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CEE1BD2-C9A9-4146-A316-9DE858245762}" type="datetime'M''''a''''''''''''''''''''''''''''''''''''''''''''r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C353B356-4523-4EBB-8BB5-4BEE486EFDA8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735013" y="1284288"/>
            <a:ext cx="6191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5609A8C5-6F5A-4550-B22E-654B7E2101C4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7969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D8F118-CBBD-4762-817A-055703699BA9}" type="datetime'''''''''''''''''''''''''''''''''''''''''0''''''''3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A1943558-0C92-4E99-A787-BBB1C8828EFB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10128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259F03-6E18-4779-930F-251F417874E6}" type="datetime'''''1''''''''''''''''''''''''''''''''''''''''0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0CDCFC8-95BF-4577-92F4-D3D1D21F219B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12287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343E31A-C26F-475F-B860-FC899D288650}" type="datetime'''''''''''''''''1''''''''''''''''''''''''''''''7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EC14448-42E8-45BE-8DA8-EF845841B2C0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4462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0240EFC-0EBE-4EE6-B9EE-C4C9CF945042}" type="datetime'''''''''''''''''''''''''''''''''''''''''''''2''''''''''4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95C90B70-E522-40BB-808D-E77C9CED9CA5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6621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7F93BE0-24ED-4A39-9962-731338525248}" type="datetime'''''''''''''''''''0''''''''''''''''''''''''''''1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400093FB-249D-4F1E-9815-FBB2F5130F10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18780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634AEB2-ECD3-4E25-B83D-6FF7BC146DA3}" type="datetime'''''''''0''''''''''''''''''''''''''''''8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FF192964-A361-4542-8CE1-C9EF7E8185B2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20939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35717EC-5376-4304-BAC0-217532DD523A}" type="datetime'''''''''1''''''''''''''''''''5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B7FCF34C-1B18-4A4F-891A-39EBA462013A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23114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2B21F7C-B124-4E92-B6E2-DC3328677F28}" type="datetime'''''''''''''''''''''2''''''''''2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0C44E939-8B94-4731-A750-C2E3E393116D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5273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9B20D4F-E2C9-4017-9693-D1E781E4FCB4}" type="datetime'''''''''''''29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F46E74E0-4873-4A93-B09A-A7B619A27EBE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7432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DEA1314-9A91-4D14-816A-FE88681B58DF}" type="datetime'''0''5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C0D6DC35-6D76-4F8F-8256-FD78110ED1F0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29606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2DFAD3A-7041-4715-86CA-C20D966C06D0}" type="datetime'''''''''''''''''''''''1''''''''''2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3E13995B-8198-415A-9156-E015150B61B7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31765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BF7D18D-8A61-4761-AEA5-DB3A1DAFFC81}" type="datetime'''''''''''''''''''''''''''''1''''9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448A726D-607A-46CC-AA6A-FE7C8D4D2966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33924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708B8A3-74D1-447A-9328-0832107227B6}" type="datetime'''''''''''''''''''2''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12ECE431-48F4-4504-A521-88F3E41B33F2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6083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0D8ABB-9C25-409B-8FBF-7EAC8AEB9F21}" type="datetime'''''''''''''''0''3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259CDD20-6560-4A24-80A9-B2EA2AA7A9D4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8258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ABDCD07-E733-4073-9D55-D6B50AE9776B}" type="datetime'''1''''''''''''''''''''''''''''''''''''''''''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88086E06-1D2A-43FC-AC66-D79253D6C3B1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40417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67D064E-5417-42DE-BA89-6F70088F316C}" type="datetime'''''''1''''''''''''''''''''''''7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9381CBBF-CF58-43C5-B7D4-029DE12B23CB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42576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53433C-5DF8-47BF-B2C1-0A9734FC607B}" type="datetime'''''2''''''4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598338B8-9942-4BCA-85E0-7CD5F7082476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4735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F5A6570-024C-4C8A-8998-B89B09AAFBEF}" type="datetime'''''''''''''''''''''''''''''''''''''''''''''''''3''''''1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57E1C7B3-ED5D-4ACF-8FFF-F62547849568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6910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DED6134-455D-4181-8E02-C6BDD137C9F8}" type="datetime'''0''''''''''''''''''''''''''7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A65B0D5A-4DCB-4852-8D4E-31C90BA96469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49069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AEB601F-7449-46D6-9659-3BB010B01C30}" type="datetime'''''''''''''''''''''''''''1''''''''''''''''''4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E068DB7B-4056-453E-9EBB-0FF53F727826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51228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EE5827E-C5EA-473F-AC36-91FC584E771C}" type="datetime'''2''''''''''''''1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680A5009-4432-487A-B917-8AA973F975D2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53387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A35B8EB-4CB6-44DA-93E6-A7E0BD988D37}" type="datetime'''''''''''2''''''''''''''''8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731B761-2027-453A-A7CA-AC88E7F0538E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5562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267D497-3B57-43DF-A5E9-C796AF43B48F}" type="datetime'''''0''''4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9C7493AA-6FBB-468A-BB3A-16222C638EB2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7721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8065EE6-C9F3-4C5C-9381-97D0715685D6}" type="datetime'''''''1''''''''1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DC881FC6-4B1D-4EE8-91BD-CCF8B76F6BD0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59880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170D4CF-0C28-44DE-9BF7-F0B273F946E4}" type="datetime'''''''''''''''''''''''''1''''''''''8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16BFB115-9B99-4E34-8DF3-2CE536DA2082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62039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31947F4-5588-4ACE-9A02-089F69B45A51}" type="datetime'''''''''''''''''''''''''''''''2''''''''5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0615C7A3-F1C5-4298-B480-442EF97DAD8A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64214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D92A55C-1DEB-45BA-8FBC-64AB12B5C9DA}" type="datetime'''''''''''0''''''2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E9ABE54F-6DE8-4C50-87B4-9CEEDF752594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6373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8559CF2-C77A-4592-ADBA-08AD5E3470AC}" type="datetime'''''''''''''''''''''''''''''''''''''''0''''''9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2B5CBA31-86F5-4676-A509-EEB88C5A33C8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68532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DD368F4-430F-44AC-A23E-F429A9EB02A9}" type="datetime'''''''''''''''1''''''''''''''''''''''''''''''6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1328D48F-36D2-4B15-9BE1-D796B6085595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70691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25055C9-2BF5-48F9-B146-37A65A9BFC14}" type="datetime'''''''''''''''''2''''''3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6629C70A-5ACC-455B-8C64-373D053885DB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72866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1901C11-F109-49FA-AD75-1950C53312FD}" type="datetime'''''''''''''''3''''''''''''''''''''''0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4EB66BBF-4394-4E2F-AC3B-38F0671C43DA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5025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9CFD0A0-BBFF-4998-B2BB-9E8DF44E5468}" type="datetime'''''''''''''''''''''''''''''''''0''''''''''''6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AF6E8D48-A5D6-4B93-9B28-CC98543DB95D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7184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2BC45B9-4E90-473A-9B18-DFF9480C3DD7}" type="datetime'''''1''''''''''''''''3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AA2AB7B9-86DC-423C-8A82-569DF3DE50EA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79359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30880E0-515B-42BA-BED8-3E747A6918EC}" type="datetime'''2''''''''''''''''''''0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52606F7D-6C23-4336-BA60-A5BA848C954E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81518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1BC2D49-1E36-456B-BA7E-89A5B0E9DEB2}" type="datetime'''''''''''''''''''''''''''''2''''''7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EBBD8469-35CC-491A-BF45-E462458AD78C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83677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FDE3BF7-34E7-48AA-B9AB-FF0C4A01D78E}" type="datetime'''''0''''''''''''''''''''''''''''''''''''''''4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4C52D9DD-C254-490E-AE6D-6B1EEBA4A1D5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5836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08EFA04-61C0-4BC2-AA9F-36FAB228FAC8}" type="datetime'''''''''''''''''''''''''''''''''''''''''''''''''''''''''1''1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8E9A9A39-12A6-41FE-A0F4-CC5F1FE465F0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8011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C872AA1-4050-4E2C-97F5-0AA557BB66E6}" type="datetime'''''''''18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5ED2885F-24C2-4816-B614-A2B0FF61A00F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90170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9BD5130-07C3-43F8-BB96-F28FDE8B55F3}" type="datetime'''''''''''''''''''''''''''''''''''2''''5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349DA1E9-059D-481B-90BC-C63ED9E3BD31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92329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92AD3B9-54C5-4CC6-9084-9773830946F6}" type="datetime'''0''''''''''''''''''''''''''''''''''''1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B674A11E-C047-4D19-A87C-889109BAE962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94488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4AED163-3403-4534-8F5D-A3EFB941747E}" type="datetime'''0''8''''''''''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B31FBF2D-5E91-4798-9A51-C254DFF1AEDB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6662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9DD5601-EBDE-4507-9BE2-97D510380691}" type="datetime'''''1''''''''''''''''''''''''''''''''''''''''''5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E7804C94-3941-4DF6-8B97-8B28EF04346D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98821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DFD1B8D-6536-40B8-B083-64EA001BB46C}" type="datetime'2''''''''''''''''''''''''''''''''''''''2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45923E5E-937D-4F97-A88F-829BE05B1A90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100980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6671E9B-05FD-471C-B204-F674756C5320}" type="datetime'''''''''''''''''''''''''''''''''''''''29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1BE8D3E4-B1B0-408F-96D8-A88E85219018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103139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4C677DB-738D-4805-A756-521AA284E5AC}" type="datetime'''''''''''''''''''''''''0''5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AC664796-4826-4FB5-BC63-CE701CBFD31E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5314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C3D09F3-C08D-40D9-AA5D-F411142B73AC}" type="datetime'''''''''''''''''''1''''''''''''''''''2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97367E40-FEFA-438F-A426-1F69AE20C5E5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7473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8BAD23B-9F49-4A1D-A967-9F00ADC19B4A}" type="datetime'''''''1''''''''''''''''''''''''''''9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43FB2760-1496-4834-A492-106574519DC3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09632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4B68AF8-ACC7-4833-8F1A-553AAEEF8B5E}" type="datetime'''2''''''''''''''''''6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7839B717-92B7-4B93-8F26-261BF1663161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11791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37C763A-D246-4CDE-A8F6-A1CFE18212AD}" type="datetime'''0''''''''''''''5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61E90181-4FD1-4CE9-8CFF-1BBB161DF2E0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13966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A73F993-E83D-4B0C-8D10-DE223E8D937F}" type="datetime'''''''''''''1''''''''''''''''''''''2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74FE7EDF-9FA9-4220-B90A-3FD64C845DAC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6125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4846B62-88A1-4609-9D4B-398513DB6B34}" type="datetime'''''''''''''''''''''1''''''''''9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DDFD7ECF-4570-46A0-9E4F-96E3817C439F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11828463" y="1284288"/>
            <a:ext cx="18573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712DA39-59DD-4074-99B1-7142B1B2D026}" type="datetime'''''''''''''''''''''''''''''''2''''''''6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73"/>
            </p:custDataLst>
          </p:nvPr>
        </p:nvCxnSpPr>
        <p:spPr bwMode="auto">
          <a:xfrm>
            <a:off x="12014200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74"/>
            </p:custDataLst>
          </p:nvPr>
        </p:nvCxnSpPr>
        <p:spPr bwMode="auto">
          <a:xfrm>
            <a:off x="73501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35464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26193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7C65487-2D5F-4E17-865E-F6051D041501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73485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1662113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28416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A9CC56A-49CE-4C05-8E08-4E8D7C6449B7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45053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4D83559-0925-4CD4-8645-33CC56A90EF2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54625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A79B1F9-3133-4B51-8607-DE2854096577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63896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BA51C9F-0981-4563-929B-3B8921F3AF25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82756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862FF67-A457-4905-B7D6-8888DD1EF2DC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923290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E899B0F-A577-48F4-BAAE-933FFBA192A3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1019175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43603CB-42D9-454E-B2FD-F5413ECF206F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110569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284163" y="543877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284163" y="341788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240665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442753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92"/>
            </p:custDataLst>
          </p:nvPr>
        </p:nvCxnSpPr>
        <p:spPr bwMode="auto">
          <a:xfrm>
            <a:off x="284163" y="13954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93"/>
            </p:custDataLst>
          </p:nvPr>
        </p:nvSpPr>
        <p:spPr bwMode="auto">
          <a:xfrm>
            <a:off x="325438" y="1263650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94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95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3" name="Text Placeholder 4">
            <a:extLst>
              <a:ext uri="{FF2B5EF4-FFF2-40B4-BE49-F238E27FC236}">
                <a16:creationId xmlns:a16="http://schemas.microsoft.com/office/drawing/2014/main" id="{67EAB526-29E1-4165-87FC-5211E6FAF2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6200000">
            <a:off x="23356" y="1736471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0" name="Text Placeholder 4">
            <a:extLst>
              <a:ext uri="{FF2B5EF4-FFF2-40B4-BE49-F238E27FC236}">
                <a16:creationId xmlns:a16="http://schemas.microsoft.com/office/drawing/2014/main" id="{543F4CE9-00F8-4F6F-8318-045D00C438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6200000">
            <a:off x="23356" y="2746129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0C703D68-C70B-4937-A8D9-EDBD8A5103A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6200000">
            <a:off x="23356" y="3755375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53399457-45AC-4E2E-9F88-BFCF0FC071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 rot="16200000">
            <a:off x="23356" y="4765033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7B3C31E7-954D-42B9-840E-0BD765CE21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 rot="16200000">
            <a:off x="23356" y="5774175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929013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3_5 Lane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Slide" r:id="rId96" imgW="360" imgH="360" progId="TCLayout.ActiveDocument.1">
                  <p:embed/>
                </p:oleObj>
              </mc:Choice>
              <mc:Fallback>
                <p:oleObj name="think-cell Slide" r:id="rId96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2461734"/>
            <a:ext cx="11730037" cy="101123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4482622"/>
            <a:ext cx="11730037" cy="101123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E9770D5-5CD9-4C43-A300-172B097628D1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735012" y="1037748"/>
            <a:ext cx="1127918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BF0DFD-E272-4E7E-933A-82534E2730F3}" type="datetime'''''''''2''''''''''''''''''''0''''''''''''2''2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242299C4-44C0-419A-AB0C-0642B4EFDCA8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735013" y="1188560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7A74023-24D7-4A65-8218-4D2C4FFC917B}" type="datetime'''''''''''''''''''''J''''''a''''''n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54C04D45-637C-4D80-A005-D629F36D7D2A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1692275" y="1188560"/>
            <a:ext cx="86518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65ACE49-64F4-4750-9A8F-770F74B2D7EB}" type="datetime'''''''''''''''''''F''''''''''''''''''e''''''''''''''''''''''b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C29E01C7-0781-4388-83CB-A573F823F928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2557463" y="1188560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F488825-AF96-4A8F-BCE9-8253FC6516CA}" type="datetime'''''''''''M''''''a''''''''''r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95356104-6B65-4384-B28B-BB056ABB7B47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3516313" y="1188560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B96841D-4E55-403F-A3B0-58632BEF64B4}" type="datetime'''''''''A''''''''''''''''''''''p''''''''''''''''''r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F747956B-0094-4C47-8FD6-79A90B91B54C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4443413" y="1188560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072CF4B-C45A-4FF8-AFE7-A5822C31878D}" type="datetime'''''''''''''M''''''''''''''''''''ay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939F7816-EDD4-4661-88ED-4109EE843E1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5400675" y="1188560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EF19C3B-512D-495E-BD97-306C7400D355}" type="datetime'''''''''''''''''J''''''u''''''''n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4541924C-DAEA-43F8-9894-F3A9CCDE48A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6327775" y="1188560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F791CB-5554-4AFD-9BDE-9DD2B6789499}" type="datetime'''J''''''ul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DCDE1D90-73D3-40B1-B3ED-63FD6749086C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7286625" y="1188560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7D10728-15DE-4AF1-A245-B6F1B169DC25}" type="datetime'''''''''''''''''A''''''''u''''g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5D534E56-357A-42E6-A95F-CDC0A994210A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8243888" y="1188560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1667DC0-A4C2-4531-943E-9022A75D8436}" type="datetime'''''''''''''S''''''e''''''''''''''''''''''''''''p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35012662-A5F7-410E-9894-D25B4C83891F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9170988" y="1188560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22FB580-297B-4251-A7D2-CCD1D59BC79E}" type="datetime'''''''''''''O''c''t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ABA02641-56A6-4E64-BA08-69738C195BDE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10129838" y="1188560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A62E66E-1EAE-41A0-8C3B-A43CAF465751}" type="datetime'No''''''''v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C977021B-D506-417C-B745-FD37389308D1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11056938" y="1188560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B1A32F9-53EC-4159-8D2F-3D445CCE207B}" type="datetime'''''''''D''e''''''''''''''''''c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8D2FB9E1-AFC6-4F09-BCF7-B84CFD134622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735014" y="1339373"/>
            <a:ext cx="301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49E510A-9D14-4E81-933A-134C803F0BD1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765175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FC9845E-B346-4E71-AE7C-8AD0A2426DF7}" type="datetime'''''''''0''''''''''''''''''2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35548C08-BDBD-429F-BF0A-AA048038ABA3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98266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8D74E40-783B-4AFC-9215-E2DC90DB0796}" type="datetime'''0''''''''''9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CFEDE700-B244-4A56-8AC5-AA499ED2958A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119856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60E436B-85AD-4A5A-8D33-C87BB9C27BC6}" type="datetime'''''''''1''''''''''''''''''''''''''''''''''''''''''''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4077BDA5-794A-43A2-A54A-CDAAE418BFF3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1414463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188E991-11B6-4F93-BCE5-9EEED056221E}" type="datetime'''''''''''2''''''''''3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DA109717-D714-498A-ABE7-B8B76129B48E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631950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05605EF-6D44-4492-96CF-3398EA190E5B}" type="datetime'''''''''''''''''30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851DCD14-CF43-4B1A-8CDC-691738C34246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847850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E420C5D-0C9A-49E3-9DF4-2E6B546942FE}" type="datetime'''''''''''''''''0''''''''''''''''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D5093C09-4B47-4EDE-81FE-1B1575181A7F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2063750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AE8B0C3-CDCD-4567-B05B-F90481D82D17}" type="datetime'''''''1''''''''''''''''''''''''''''''''3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8B7FE4C2-5151-4FC7-9652-4C5A9FB3DFFE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2279650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3AB60C4-33D7-49D8-9F45-56D5D9F72726}" type="datetime'''''''''''''''''''''''''2''''0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559C25D3-3EAB-478F-A277-938F8248C783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2497138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49B2ABB-6599-4EC0-8B24-23F5889B8004}" type="datetime'''2''''''''''''''''''''''''''''''7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6A41F807-115B-4EB2-9393-D9F3EBDE0A28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713038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A8C9D92-DD6A-4486-B67A-319451C798B7}" type="datetime'0''''''''''''''''''''''''''''6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86071404-A1A9-4BB3-84FB-68127769D999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928938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9F9F93D-F47E-4427-97BB-4A267084F9DC}" type="datetime'''''''''''''''''''''''''1''''3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A997EB10-1AD0-4D36-AAB0-CA286FDD08A3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3144838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0E8AAB4-1F40-477F-BD67-3494CE96BA1A}" type="datetime'''2''''''''''''''''''0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3B9F03F1-3FE9-4BD0-8FC0-644E05BBF30B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3362325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108E0C4-F659-4829-A5BF-3FBC97D4FDE5}" type="datetime'''''''2''''''''''''7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27BF7AFF-FEF8-46FF-912A-CE474C08DC72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3578225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DF1801B-C645-48A6-814E-E93D3C18D64C}" type="datetime'0''''''''''''''3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D0673B98-038E-41A2-A05A-B88A624D34D3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794125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317310C-060F-4222-AFD2-DA74B7CC7AEB}" type="datetime'''''''''''''''''''''''1''''''''0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A96273CF-0152-4104-83E3-EB87831AF6AC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4010025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F400581-142D-4789-B652-91819C17B6E6}" type="datetime'''''''''''''''''''''''''''''''''''1''''''7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F49F8044-2435-4DD5-A794-FBF8AABC60FD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422751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1B382CD-0AB1-486B-991C-BCF8F044D38F}" type="datetime'2''4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F9851DC7-34A2-4176-A21C-C89BBF470903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444341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40A7D33-13A5-4345-8A6D-51A70CB55ED3}" type="datetime'''''''''''''''''''''''''''''''''''''''''''''''''''01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C282157D-1307-498B-8EF4-C9FC012B78A8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65931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CE31957-DC3B-4565-A19A-D53EB9BC98E0}" type="datetime'''''''''''''''0''''''''''''''''''''''''''8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8F46448D-BDCC-4221-BDF7-F1D5847642DF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875213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D6DAE88-C692-4E10-90CE-1BEF153AC5D1}" type="datetime'''''''1''''''''''''''''''5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DD1F3A99-71DD-4BFB-B360-46CBA493F6A4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5092700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9F62529-9600-4F92-9BDB-7C0C30723E9C}" type="datetime'''''2''''''''''''''''''''''''''2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AAF62F26-EB24-4010-A904-38D6A7C7F3EB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5308600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AD898D2-B890-41F6-8FC5-938CD552C071}" type="datetime'''''''''2''''''''''''''''''''''''9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91AB70EB-3492-430B-A91B-C3FC8432E24C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5524500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DC1285C-AB24-4692-9F6B-B708DAF7A8E3}" type="datetime'''''''''''''''0''''''''''''''''''''''''''''''''5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8A4FC917-A950-4CED-819B-8D3539FAEAE9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740400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323FFB5-695E-4F86-94A1-83326F68EB1A}" type="datetime'''''''''''''''''1''''''2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D6404ED1-1F14-4C9B-86B9-661CED037B3F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957888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A8F1DC0-90B9-4BAA-929B-6EC9AA202418}" type="datetime'''''''''''1''''''''''''9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78A0EF8B-7E32-4C59-BF23-CF8D13F3A047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6173788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CFE094F-908F-4FB1-BEC8-A47283656868}" type="datetime'''''2''''''''''''''''''''''''''''''''''''6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DAAEB6D1-5F71-4E3B-ADAD-FAA892022FBA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6389688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B6F7123-C650-4FAD-BAFB-05B320C4AB43}" type="datetime'''''''''''''''''''''''''''''0''''''''''''''''''''''''3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7B7C7272-5308-40BC-A0B0-4C4288D652FD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6605588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D752204-414B-43EF-B5D3-97350A368A02}" type="datetime'1''''''''''''''''''''''''''''''0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77329940-1F83-4557-8922-FF5BE3A1B396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823075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17E0ACE-9B9E-4456-8388-5BB3840D4830}" type="datetime'''''''''''''''''''1''''''''''''7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6E9E84FD-0FBA-43C8-8557-D19F340045F7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7038975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AD3B248-73E0-47A8-AF3A-EB71A5253169}" type="datetime'''''''''''''''''''''2''''4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91D4B3B0-CDB3-4927-BED6-EB2D4C598F11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7254875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2D09918-7B0B-49DF-A943-4B911D8D1D48}" type="datetime'''''''''''''3''''1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5C1A80F5-19F6-4641-9DEE-59FB05720C63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747236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CFFA319-7C17-4E6B-B420-9A755DC922D5}" type="datetime'''''''0''''''''''''''''''''''''''''''''7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D49B4D33-EE3F-493C-A6EB-18BE9D102741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68826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AE35D9E-EFB6-4DD2-8257-093657CE4752}" type="datetime'''''''''1''''''''''''''4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0818DB81-43BE-4504-8BA7-ABB73D1C23F3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90416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39D700C-CDB5-4EDA-B641-1CE6C70B176F}" type="datetime'''''''''''''''''''2''''''''''''''''1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E86B7CCA-203B-4796-941D-2D052A4AC562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8120063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B8C984C-57A0-409D-A4E8-30DC462D31C5}" type="datetime'''''2''''''8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464F235A-D42A-419D-9D1D-24CC55E39D2A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8337550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8DAB8F7-3BF7-41CF-8556-281346DF43AB}" type="datetime'''''''0''''''4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BF66B682-C8B3-42A4-B5D1-7C7C1EDB1480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8553450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001D5F-FE8C-442C-8DCF-DE79CF89F50C}" type="datetime'''''''''''''1''''''''''''''''''''''''''''''''1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FA80A423-4586-4BAF-BEA0-F81666202717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769350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0E55241-97AD-4E7E-9253-8E155B459F6D}" type="datetime'''''''''''''''''''''''''''''1''''''8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16BFB115-9B99-4E34-8DF3-2CE536DA2082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985250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4993A81-7671-4CB1-99BA-54F9B3F9CAA9}" type="datetime'''''''''''''''''''''''''''''''2''''''''5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0615C7A3-F1C5-4298-B480-442EF97DAD8A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9202738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D92A55C-1DEB-45BA-8FBC-64AB12B5C9DA}" type="datetime'''''''''''0''''''2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E9ABE54F-6DE8-4C50-87B4-9CEEDF752594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9418638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8559CF2-C77A-4592-ADBA-08AD5E3470AC}" type="datetime'''''''''''''''''''''''''''''''''''''''0''''''9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2B5CBA31-86F5-4676-A509-EEB88C5A33C8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9634538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DD368F4-430F-44AC-A23E-F429A9EB02A9}" type="datetime'''''''''''''''1''''''''''''''''''''''''''''''6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1328D48F-36D2-4B15-9BE1-D796B6085595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850438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25055C9-2BF5-48F9-B146-37A65A9BFC14}" type="datetime'''''''''''''''''2''''''3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6629C70A-5ACC-455B-8C64-373D053885DB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10067925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1901C11-F109-49FA-AD75-1950C53312FD}" type="datetime'''''''''''''''3''''''''''''''''''''''0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4EB66BBF-4394-4E2F-AC3B-38F0671C43DA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10283825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9CFD0A0-BBFF-4998-B2BB-9E8DF44E5468}" type="datetime'''''''''''''''''''''''''''''''''0''''''''''''6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AF6E8D48-A5D6-4B93-9B28-CC98543DB95D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10499725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2BC45B9-4E90-473A-9B18-DFF9480C3DD7}" type="datetime'''''1''''''''''''''''3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AA2AB7B9-86DC-423C-8A82-569DF3DE50EA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715625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30880E0-515B-42BA-BED8-3E747A6918EC}" type="datetime'''2''''''''''''''''''''0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52606F7D-6C23-4336-BA60-A5BA848C954E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93311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1BC2D49-1E36-456B-BA7E-89A5B0E9DEB2}" type="datetime'''''''''''''''''''''''''''''2''''''7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EBBD8469-35CC-491A-BF45-E462458AD78C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114901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FDE3BF7-34E7-48AA-B9AB-FF0C4A01D78E}" type="datetime'''''0''''''''''''''''''''''''''''''''''''''''4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4C52D9DD-C254-490E-AE6D-6B1EEBA4A1D5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136491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08EFA04-61C0-4BC2-AA9F-36FAB228FAC8}" type="datetime'''''''''''''''''''''''''''''''''''''''''''''''''''''''''1''1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8E9A9A39-12A6-41FE-A0F4-CC5F1FE465F0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1580813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C872AA1-4050-4E2C-97F5-0AA557BB66E6}" type="datetime'''''''''18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5ED2885F-24C2-4816-B614-A2B0FF61A00F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798300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9BD5130-07C3-43F8-BB96-F28FDE8B55F3}" type="datetime'''''''''''''''''''''''''''''''''''2''''5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14FD3E2-4F7A-4841-8F22-FCA10330FCE9}"/>
              </a:ext>
            </a:extLst>
          </p:cNvPr>
          <p:cNvCxnSpPr/>
          <p:nvPr userDrawn="1">
            <p:custDataLst>
              <p:tags r:id="rId72"/>
            </p:custDataLst>
          </p:nvPr>
        </p:nvCxnSpPr>
        <p:spPr bwMode="auto">
          <a:xfrm>
            <a:off x="9170988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9710BC6-F784-4EE5-8081-8805DCA82B4B}"/>
              </a:ext>
            </a:extLst>
          </p:cNvPr>
          <p:cNvCxnSpPr/>
          <p:nvPr userDrawn="1">
            <p:custDataLst>
              <p:tags r:id="rId73"/>
            </p:custDataLst>
          </p:nvPr>
        </p:nvCxnSpPr>
        <p:spPr bwMode="auto">
          <a:xfrm>
            <a:off x="6327775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74"/>
            </p:custDataLst>
          </p:nvPr>
        </p:nvCxnSpPr>
        <p:spPr bwMode="auto">
          <a:xfrm>
            <a:off x="735013" y="1450498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2557463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1692275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12014200" y="1450498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03475D-0BB5-4549-901B-EDE59088B781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4443413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284163" y="1450498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28A718-0E93-4D04-AE7E-FB0299AEB507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3516313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4C5129F-6880-46E4-87C5-1DF89F8D7EBC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5400675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2EE58FE-9BBA-474B-87FD-0C8F6AD6649B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7286625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D735C9A-2219-474D-B5C7-68D9AE867412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8243888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DC473AC-0B42-4259-8B4C-9004161ED163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10129838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6183BE9-2BAB-48F4-81A4-9310A093BABC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11056938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284163" y="246173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284163" y="549386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284163" y="347297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448262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6505098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1450498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92"/>
            </p:custDataLst>
          </p:nvPr>
        </p:nvSpPr>
        <p:spPr bwMode="auto">
          <a:xfrm>
            <a:off x="303404" y="1188560"/>
            <a:ext cx="368300" cy="24139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1" i="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cus </a:t>
            </a:r>
          </a:p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1" i="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tegory</a:t>
            </a:r>
            <a:endParaRPr kumimoji="0" lang="en-US" sz="800" b="1" i="0" u="none" cap="none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93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94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3" name="Text Placeholder 4">
            <a:extLst>
              <a:ext uri="{FF2B5EF4-FFF2-40B4-BE49-F238E27FC236}">
                <a16:creationId xmlns:a16="http://schemas.microsoft.com/office/drawing/2014/main" id="{67EAB526-29E1-4165-87FC-5211E6FAF2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6200000">
            <a:off x="23356" y="1791556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0" name="Text Placeholder 4">
            <a:extLst>
              <a:ext uri="{FF2B5EF4-FFF2-40B4-BE49-F238E27FC236}">
                <a16:creationId xmlns:a16="http://schemas.microsoft.com/office/drawing/2014/main" id="{543F4CE9-00F8-4F6F-8318-045D00C438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6200000">
            <a:off x="23356" y="2801214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0C703D68-C70B-4937-A8D9-EDBD8A5103A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6200000">
            <a:off x="23356" y="3810460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53399457-45AC-4E2E-9F88-BFCF0FC071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 rot="16200000">
            <a:off x="23356" y="4820118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7B3C31E7-954D-42B9-840E-0BD765CE21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 rot="16200000">
            <a:off x="23356" y="5829260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2709244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Lane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7" name="think-cell Slide" r:id="rId99" imgW="360" imgH="360" progId="TCLayout.ActiveDocument.1">
                  <p:embed/>
                </p:oleObj>
              </mc:Choice>
              <mc:Fallback>
                <p:oleObj name="think-cell Slide" r:id="rId99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3922714"/>
            <a:ext cx="11730037" cy="84137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2238375"/>
            <a:ext cx="11730037" cy="84137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60AF63-EEB8-4A8E-9111-10BCCE08388E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284163" y="5607050"/>
            <a:ext cx="11730037" cy="84296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E9770D5-5CD9-4C43-A300-172B097628D1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735013" y="982663"/>
            <a:ext cx="849788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BF0DFD-E272-4E7E-933A-82534E2730F3}" type="datetime'''''''''2''''''''''''''''''''0''''''''''''2''2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DFDE796F-516D-4504-87AD-729F4D483EB6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9232900" y="982663"/>
            <a:ext cx="278130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3E9B31-76D2-46DC-BE4F-64A3E42D8F7E}" type="datetime'''''''''''''''''''2''''0''2''''''''3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0F81C145-2690-4C94-8454-8AA21CEB3334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735013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E2DD7EE-F686-4C6A-B8EC-2CDC3C3599CA}" type="datetime'''''''''''''''''''A''''''''''''''''p''''''''r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BB989622-68CA-469E-B3CF-6CE2E896CF4A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1662113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52EF1F3-DC74-4B3F-B72C-7FE50606F30B}" type="datetime'''''''M''''''a''''''''''''y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427BAAC6-BA67-4FA9-ABB6-5BA526564948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261937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CDB3BBD-926C-4DA3-973F-8E1FFFD45C61}" type="datetime'''''''''''''''''''''J''''''''''''u''''''''n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0A123007-420C-40AD-8DFF-BE9525D2CD8B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35464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DCC2C1-E93C-498F-9859-6879A8DC1BC0}" type="datetime'''J''''''''''''''''u''''''''''''''''''''''''''''''l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3E636813-4DEF-4E9E-8033-5478CE395E91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4505326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DD96DD9-447D-4CFF-A293-55EFF264B554}" type="datetime'''Au''''''''''''''''''''''''''''''g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4D99A727-F4C3-43F0-8BE0-551BAB120F57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546258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005119C-9610-4D69-91FC-66CE9D3E14FE}" type="datetime'''''''S''''''''''''''''''''ep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3AB3731C-6015-4011-AB3E-442E8EABBD17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6389688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81CB3D6-4700-4493-AB17-CF15BD65E6BA}" type="datetime'O''''''''''''''''''''''''''c''''''''''''t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EC657E6E-05EE-4D69-886A-0D9B649A1EDD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734853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C797F98-5997-46D9-BA16-BC8BA45685AF}" type="datetime'''''No''''v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7A63F733-C59B-4165-A7E1-A85DAD8A4EF6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8275639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BB12C59-0961-41AC-B36F-B88C02271BF8}" type="datetime'''''''''De''''''''''c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C4303A8C-D21F-4B4A-97D9-44B94F986A4A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9232900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78AC65-D6DB-43BF-9970-242222AFBFB4}" type="datetime'''''''''''J''''''''''''a''''''''''''''n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39E1E298-ECF7-469A-8906-D515844A31FC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10191750" y="1133475"/>
            <a:ext cx="86518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6D68387-8C8E-4904-B2CA-C6CA5AC05094}" type="datetime'''''F''''''''''''''''''e''''''''''''''''''''''''''''''b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B3FDBB95-CCA0-427C-B020-CAE526517FCD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11056939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BBF4DD9-1F0A-4778-ADE2-CB6BD307DEE3}" type="datetime'''''''''Ma''''''''''''''''''''''''''''r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C353B356-4523-4EBB-8BB5-4BEE486EFDA8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735013" y="1284288"/>
            <a:ext cx="6191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5609A8C5-6F5A-4550-B22E-654B7E2101C4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7969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D8F118-CBBD-4762-817A-055703699BA9}" type="datetime'''''''''''''''''''''''''''''''''''''''''0''''''''3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A1943558-0C92-4E99-A787-BBB1C8828EFB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10128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259F03-6E18-4779-930F-251F417874E6}" type="datetime'''''1''''''''''''''''''''''''''''''''''''''''0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0CDCFC8-95BF-4577-92F4-D3D1D21F219B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2287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343E31A-C26F-475F-B860-FC899D288650}" type="datetime'''''''''''''''''1''''''''''''''''''''''''''''''7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EC14448-42E8-45BE-8DA8-EF845841B2C0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4462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0240EFC-0EBE-4EE6-B9EE-C4C9CF945042}" type="datetime'''''''''''''''''''''''''''''''''''''''''''''2''''''''''4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95C90B70-E522-40BB-808D-E77C9CED9CA5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16621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7F93BE0-24ED-4A39-9962-731338525248}" type="datetime'''''''''''''''''''0''''''''''''''''''''''''''''1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400093FB-249D-4F1E-9815-FBB2F5130F10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18780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634AEB2-ECD3-4E25-B83D-6FF7BC146DA3}" type="datetime'''''''''0''''''''''''''''''''''''''''''8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FF192964-A361-4542-8CE1-C9EF7E8185B2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20939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35717EC-5376-4304-BAC0-217532DD523A}" type="datetime'''''''''1''''''''''''''''''''5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B7FCF34C-1B18-4A4F-891A-39EBA462013A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3114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2B21F7C-B124-4E92-B6E2-DC3328677F28}" type="datetime'''''''''''''''''''''2''''''''''2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0C44E939-8B94-4731-A750-C2E3E393116D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5273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9B20D4F-E2C9-4017-9693-D1E781E4FCB4}" type="datetime'''''''''''''29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F46E74E0-4873-4A93-B09A-A7B619A27EBE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27432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DEA1314-9A91-4D14-816A-FE88681B58DF}" type="datetime'''0''5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C0D6DC35-6D76-4F8F-8256-FD78110ED1F0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29606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2DFAD3A-7041-4715-86CA-C20D966C06D0}" type="datetime'''''''''''''''''''''''1''''''''''2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3E13995B-8198-415A-9156-E015150B61B7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31765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BF7D18D-8A61-4761-AEA5-DB3A1DAFFC81}" type="datetime'''''''''''''''''''''''''''''1''''9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448A726D-607A-46CC-AA6A-FE7C8D4D2966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3924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708B8A3-74D1-447A-9328-0832107227B6}" type="datetime'''''''''''''''''''2''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12ECE431-48F4-4504-A521-88F3E41B33F2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6083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0D8ABB-9C25-409B-8FBF-7EAC8AEB9F21}" type="datetime'''''''''''''''0''3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259CDD20-6560-4A24-80A9-B2EA2AA7A9D4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38258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ABDCD07-E733-4073-9D55-D6B50AE9776B}" type="datetime'''1''''''''''''''''''''''''''''''''''''''''''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88086E06-1D2A-43FC-AC66-D79253D6C3B1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40417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67D064E-5417-42DE-BA89-6F70088F316C}" type="datetime'''''''1''''''''''''''''''''''''7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9381CBBF-CF58-43C5-B7D4-029DE12B23CB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2576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53433C-5DF8-47BF-B2C1-0A9734FC607B}" type="datetime'''''2''''''4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598338B8-9942-4BCA-85E0-7CD5F7082476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4735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4DC299E-A9F6-45F3-B896-BAAD133AB95C}" type="datetime'''''''''''''''3''''''''''''''''''''''''''''''''''1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7857D31C-7878-47B2-A50C-8DC3AB596AFD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46910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572D931-F9C9-4B34-81CC-394FA37FBAB1}" type="datetime'''''''''''''''''''''0''''''''''''7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17D79CD1-4B88-4360-890B-83516DBFE0AF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49069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E8F546A-4EE4-4293-94F2-736BED037CE2}" type="datetime'1''''''''4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A4F1734F-A49B-4054-BF14-F489F47F7345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51228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8B90ECE-F188-4A6C-B6FB-E427EA414B41}" type="datetime'''2''''''''1''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DA863AB3-3A6A-4A0B-8450-9ED775B66981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3387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D43160C-2426-4274-8E2B-F62B8DC30F66}" type="datetime'''''''''''''''''''''''''2''''''''''''''8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C6565D32-699D-4907-860F-F5B87E3C0101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5562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19C5ADA-9822-4B4E-9A22-5F963BBC0760}" type="datetime'''''''''''''''''''''0''''''''''''''''''''4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F97F87A5-D28E-42FB-B0E7-122A8FE0FFE1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57721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C81170C-EBB5-4292-AD12-E8B2863FE232}" type="datetime'''1''''''''''''''''''''''1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2013B3A1-AF43-4044-B00E-01287007BBD2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59880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3C21E75-1248-4F1A-A7C6-2FC88361A529}" type="datetime'''''''''''''''''''''''''1''''''''''''''''''''''''8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A4B2C110-540B-44A2-B9D1-FF26107A3EE9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62039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30F88C6-8BCD-4D0E-8D61-6F680D3689A0}" type="datetime'''''''''''''''''''''''''''''''''''''''''2''''''''''5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B838EA78-CA83-42A0-BCAA-A1D6125E1479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4214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D958A1A-B3C7-4D25-A905-FFA3E619A64F}" type="datetime'''''''''''''0''''''''''''''''''''''''''''2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6C6F3A2-AECA-4FCA-9C6B-9BE30AF0AAAA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66373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8B42152-782E-4242-8DD8-58E888FCAAFC}" type="datetime'''''''''''''''''''09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B2993619-DA5E-45C5-BE5E-DC4C23BACCDC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68532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C60DBB4-5021-4ABA-A4C6-F9FB73693CDC}" type="datetime'''''''''''''''''''''''''16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1C0D16B2-542E-4BA9-9B62-2AF147A823AB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70691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24F4465-FFA2-43D7-A240-5579DA357C48}" type="datetime'2''''''''''''3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7632C0FD-59C4-4E79-ABB7-46A9932E43D3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2866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3D408C5-C305-4026-B04A-59E1C6A350AF}" type="datetime'''''''3''''''''''''''''''''''''''''''''0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4D43B970-301E-4CDF-803C-959A611B9EFD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5025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F503790-D2A4-4E71-B73D-D394C9055555}" type="datetime'''0''''''''''''''''''''''''''''6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8FDCFFA3-A589-4385-BD0F-815BA4278DD4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77184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AE5CD29-F38C-42B2-BE55-0EA25E2B9032}" type="datetime'''''''''''''''''1''3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750A2507-8294-49EF-9066-384C3FA7D4C0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79359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21D2596-DE9C-4689-A9C1-0AC011F28919}" type="datetime'''''''2''''''''''''''''''''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B05AE194-9814-417F-A587-8B22577FC09E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81518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D5D78F-F94E-4649-AE77-8BC72552868A}" type="datetime'''''''''''''''''''''2''''''''''''''''''''''7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A9D89D1F-A371-493B-BB31-3BD559691234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3677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329CED5-051A-4C55-9078-72CB0254033A}" type="datetime'''''''''''''''''''0''''''''''''''''''''''''''''4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AD5F3041-F9E5-4E62-8AC1-F434A36BA9BB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5836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7608C18-301B-426B-8BD9-6A2A0FA09589}" type="datetime'''''''1''''''''''''1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5EBA670D-621F-41B0-98D6-99856FB8EA70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88011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1AED318-17AA-4D35-9103-C68ED0CA4A30}" type="datetime'''''''1''''''''''''''''''''''''''8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D7DE8060-E0D6-4C5D-82F1-1FE8AF0B1C4D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90170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51711D9-D760-44DE-90EB-0E234C162B35}" type="datetime'''''''''''''''''''''''''''''''''2''''''''5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31FE8006-D140-464D-A7A5-A965FB890C0B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92329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7EF6F2B-5E47-44FA-981A-36C3D5318DD9}" type="datetime'''''''''''0''''''''''1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19346D78-08F5-4181-9AFA-1D976D0D7F16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4488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B087461-5BFC-49F5-BDF1-38D8AD41D851}" type="datetime'''''''0''''''''''''''''''''''''''''8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049F60A1-2B65-4E43-9959-1ECDF9709563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96662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117701F-C107-4137-BF09-0CACE0DC2DB8}" type="datetime'''''''''''''''''''''''''''''''''1''''''''''5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C1A1ED9B-16BE-4CFF-97DC-B6F8C0E6CA9D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98821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8C7331E-33D4-45C3-AF14-1214D170C773}" type="datetime'''''''''''''''''''''''''''''''''''''''''2''''''''''''''''''2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A64F33A9-D601-4E73-B972-874E69C0A932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10098087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E629AE7-133C-4308-BA7A-25792F5DF27F}" type="datetime'''''''''29''''''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704BC911-69A2-4DE6-AAB8-14B09A4F27DB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313987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DA37DA7-AAB5-41E7-AC58-57F534D65FD9}" type="datetime'''''''''''05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C3C2D244-70D1-457F-AB8B-B11EA95E9A4E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53147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572862A-8211-48F7-B1C8-252FB1778CBC}" type="datetime'''''''''''''''''''''''''''''''''''1''''''''''''''''2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51A5FB20-75E6-47E9-99C5-B06112555196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074737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F67080-0452-4B81-96BF-A25002411506}" type="datetime'''''''''''''''''''''''''19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DEC53268-D0E8-491F-87C0-F81E1CDC39CB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096327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A473BCC-EA9E-4CE1-A691-1C8D25F8F017}" type="datetime'''''''''''2''''''6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EC6E276B-A040-4C4E-BFC7-15199E61D9EB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1179174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386C9A2-E779-4AFC-9F3E-E9ED96B964B2}" type="datetime'''''''''''''''''0''''''''''''5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0C743BD2-2EE9-4A9B-A67C-3A41F56FDD59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39666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A2A05BE-3805-40B3-85CF-BB50EDC32A64}" type="datetime'''''''''1''''''''2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34B0CBE1-9B9D-4F24-8255-F5B719791FCE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1161256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815D67F-9DC7-41AC-A4FB-CA719FDA537F}" type="datetime'''''''''''''''''''''''''''1''''''''''''''''''''''''''''''9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C0057663-2B6D-4BD2-B034-4CF21AEEC319}"/>
              </a:ext>
            </a:extLst>
          </p:cNvPr>
          <p:cNvSpPr/>
          <p:nvPr userDrawn="1">
            <p:custDataLst>
              <p:tags r:id="rId73"/>
            </p:custDataLst>
          </p:nvPr>
        </p:nvSpPr>
        <p:spPr bwMode="auto">
          <a:xfrm>
            <a:off x="11828462" y="1284288"/>
            <a:ext cx="18573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9832C3-D7C9-4E29-8E06-C99BC0935505}" type="datetime'''''''''''''''2''''''''''''''''6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74"/>
            </p:custDataLst>
          </p:nvPr>
        </p:nvCxnSpPr>
        <p:spPr bwMode="auto">
          <a:xfrm>
            <a:off x="35464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26193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1662113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804C11A-E8DE-4794-AB5B-31251EF27DBF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45053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2FD6D3D-B17B-4AA9-A9FA-87D33EDED79F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54625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3041DE7-FEEA-4764-8295-911AB397E5E9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63896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F761F60-D62A-4422-8700-78BB41E042D4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73485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D37EFE0-D58D-4C0E-AC57-F5A4686AF728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923290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382595F-FBE3-4B1C-8A13-7FBF58D3109C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82756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28416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73501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D81570E-D6FE-4597-833C-81FDD5719E4A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1019175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12014200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26F5981-716C-4619-B65E-9CC84A8F5192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110569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F887B51-A14C-40FF-9E44-A3BAFAEDE1DE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284163" y="5607050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476408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392271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307975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92"/>
            </p:custDataLst>
          </p:nvPr>
        </p:nvCxnSpPr>
        <p:spPr bwMode="auto">
          <a:xfrm>
            <a:off x="284163" y="223837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3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94"/>
            </p:custDataLst>
          </p:nvPr>
        </p:nvCxnSpPr>
        <p:spPr bwMode="auto">
          <a:xfrm>
            <a:off x="284163" y="13954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95"/>
            </p:custDataLst>
          </p:nvPr>
        </p:nvSpPr>
        <p:spPr bwMode="auto">
          <a:xfrm>
            <a:off x="325438" y="1263650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96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97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4" name="Text Placeholder 4">
            <a:extLst>
              <a:ext uri="{FF2B5EF4-FFF2-40B4-BE49-F238E27FC236}">
                <a16:creationId xmlns:a16="http://schemas.microsoft.com/office/drawing/2014/main" id="{BD7FF597-12CE-479B-9A75-114198DEBD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 rot="16200000">
            <a:off x="144279" y="5853678"/>
            <a:ext cx="730654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261" name="Text Placeholder 4">
            <a:extLst>
              <a:ext uri="{FF2B5EF4-FFF2-40B4-BE49-F238E27FC236}">
                <a16:creationId xmlns:a16="http://schemas.microsoft.com/office/drawing/2014/main" id="{B8FBAFCE-1144-43AA-AA49-796E305B3BC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 rot="16200000">
            <a:off x="144279" y="5010716"/>
            <a:ext cx="730654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262" name="Text Placeholder 4">
            <a:extLst>
              <a:ext uri="{FF2B5EF4-FFF2-40B4-BE49-F238E27FC236}">
                <a16:creationId xmlns:a16="http://schemas.microsoft.com/office/drawing/2014/main" id="{B36CD2C8-84B7-4102-9B83-45E829A4094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16200000">
            <a:off x="144279" y="4177736"/>
            <a:ext cx="730654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263" name="Text Placeholder 4">
            <a:extLst>
              <a:ext uri="{FF2B5EF4-FFF2-40B4-BE49-F238E27FC236}">
                <a16:creationId xmlns:a16="http://schemas.microsoft.com/office/drawing/2014/main" id="{D42B9BA7-78BD-4BB7-B6F8-849070D3452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 rot="16200000">
            <a:off x="144279" y="3345110"/>
            <a:ext cx="730654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264" name="Text Placeholder 4">
            <a:extLst>
              <a:ext uri="{FF2B5EF4-FFF2-40B4-BE49-F238E27FC236}">
                <a16:creationId xmlns:a16="http://schemas.microsoft.com/office/drawing/2014/main" id="{BEF12BEE-C692-4220-B31A-4310F27C0F1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 rot="16200000">
            <a:off x="144279" y="2502147"/>
            <a:ext cx="730654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265" name="Text Placeholder 4">
            <a:extLst>
              <a:ext uri="{FF2B5EF4-FFF2-40B4-BE49-F238E27FC236}">
                <a16:creationId xmlns:a16="http://schemas.microsoft.com/office/drawing/2014/main" id="{ED62F093-8B60-4772-A6FE-268273E545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rot="16200000">
            <a:off x="144279" y="1652023"/>
            <a:ext cx="730654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45084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/>
          <a:srcRect r="72206"/>
          <a:stretch/>
        </p:blipFill>
        <p:spPr>
          <a:xfrm>
            <a:off x="5437233" y="2951505"/>
            <a:ext cx="1317534" cy="954991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B69876-9785-4BC5-A491-B850EB1E09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6" name="Rectangle 1027">
            <a:extLst>
              <a:ext uri="{FF2B5EF4-FFF2-40B4-BE49-F238E27FC236}">
                <a16:creationId xmlns:a16="http://schemas.microsoft.com/office/drawing/2014/main" id="{1F51A78B-63EC-4994-84DA-7D57D2FCF7F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0944069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3_6 Lane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1" name="think-cell Slide" r:id="rId99" imgW="360" imgH="360" progId="TCLayout.ActiveDocument.1">
                  <p:embed/>
                </p:oleObj>
              </mc:Choice>
              <mc:Fallback>
                <p:oleObj name="think-cell Slide" r:id="rId99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2238375"/>
            <a:ext cx="11730037" cy="84137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3922714"/>
            <a:ext cx="11730037" cy="84137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60AF63-EEB8-4A8E-9111-10BCCE08388E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284163" y="5607050"/>
            <a:ext cx="11730037" cy="84296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E9770D5-5CD9-4C43-A300-172B097628D1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735014" y="982663"/>
            <a:ext cx="284321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BF0DFD-E272-4E7E-933A-82534E2730F3}" type="datetime'''''''''2''''''''''''''''''''0''''''''''''2''2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DFDE796F-516D-4504-87AD-729F4D483EB6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3578225" y="982663"/>
            <a:ext cx="8435975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3E9B31-76D2-46DC-BE4F-64A3E42D8F7E}" type="datetime'''''''''''''''''''2''''0''2''''''''3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3AB3731C-6015-4011-AB3E-442E8EABBD17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735013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81CB3D6-4700-4493-AB17-CF15BD65E6BA}" type="datetime'O''''''''''''''''''''''''''c''''''''''''t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EC657E6E-05EE-4D69-886A-0D9B649A1EDD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169227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C797F98-5997-46D9-BA16-BC8BA45685AF}" type="datetime'''''No''''v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7A63F733-C59B-4165-A7E1-A85DAD8A4EF6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26193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BB12C59-0961-41AC-B36F-B88C02271BF8}" type="datetime'''''''''De''''''''''c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C4303A8C-D21F-4B4A-97D9-44B94F986A4A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3578225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78AC65-D6DB-43BF-9970-242222AFBFB4}" type="datetime'''''''''''J''''''''''''a''''''''''''''n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39E1E298-ECF7-469A-8906-D515844A31F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4535488" y="1133475"/>
            <a:ext cx="86518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6D68387-8C8E-4904-B2CA-C6CA5AC05094}" type="datetime'''''F''''''''''''''''''e''''''''''''''''''''''''''''''b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B3FDBB95-CCA0-427C-B020-CAE526517FCD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54006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BBF4DD9-1F0A-4778-ADE2-CB6BD307DEE3}" type="datetime'''''''''Ma''''''''''''''''''''''''''''r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A97C31DC-A253-4E41-B421-C6199E969B97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635952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EFF28DD-A786-4F9E-87DF-7DF2A7BD43D9}" type="datetime'''''''''''''A''p''''''''''''r''''''''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86845F94-711B-4F90-9F1A-0C919FFE26A4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7286625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893B6D2-0B9F-4AD9-805B-65991F6709C2}" type="datetime'''''''''''''''''''''''''''''''''''''Ma''''''''''''''''y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33855189-4B93-4569-B4F3-0EFDB550EB2B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824388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D4749F5-C68A-44BE-9AB2-A7C8578DCFDE}" type="datetime'''''''''''J''''''''''''''''''''u''''n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D76FA17A-BF75-4842-9007-567877967141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9170988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FCA0302-006C-45DA-AE10-4E93BD3DFE46}" type="datetime'''J''u''''l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6942EC28-02B2-488C-9682-A5609C3D2947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10129838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3F3CA35-6C53-4888-909C-BC1D3B832AF5}" type="datetime'''''''A''''''''''''''''''''''''''''''u''''''''''g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BB0417E5-8C96-4F21-8117-AAA033A78390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11087100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944C740-CFAE-42BA-AF9D-5C52885CB29C}" type="datetime'''''''''S''''''''''''''e''''p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A4B2C110-540B-44A2-B9D1-FF26107A3EE9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735013" y="1284288"/>
            <a:ext cx="301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B838EA78-CA83-42A0-BCAA-A1D6125E1479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7651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D958A1A-B3C7-4D25-A905-FFA3E619A64F}" type="datetime'''''''''''''0''''''''''''''''''''''''''''2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6C6F3A2-AECA-4FCA-9C6B-9BE30AF0AAAA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9826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8B42152-782E-4242-8DD8-58E888FCAAFC}" type="datetime'''''''''''''''''''09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B2993619-DA5E-45C5-BE5E-DC4C23BACCDC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1985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C60DBB4-5021-4ABA-A4C6-F9FB73693CDC}" type="datetime'''''''''''''''''''''''''16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1C0D16B2-542E-4BA9-9B62-2AF147A823AB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4144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24F4465-FFA2-43D7-A240-5579DA357C48}" type="datetime'2''''''''''''3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7632C0FD-59C4-4E79-ABB7-46A9932E43D3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16319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3D408C5-C305-4026-B04A-59E1C6A350AF}" type="datetime'''''''3''''''''''''''''''''''''''''''''0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4D43B970-301E-4CDF-803C-959A611B9EFD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18478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F503790-D2A4-4E71-B73D-D394C9055555}" type="datetime'''0''''''''''''''''''''''''''''6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8FDCFFA3-A589-4385-BD0F-815BA4278DD4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20637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AE5CD29-F38C-42B2-BE55-0EA25E2B9032}" type="datetime'''''''''''''''''1''3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750A2507-8294-49EF-9066-384C3FA7D4C0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2796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21D2596-DE9C-4689-A9C1-0AC011F28919}" type="datetime'''''''2''''''''''''''''''''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B05AE194-9814-417F-A587-8B22577FC09E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4971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D5D78F-F94E-4649-AE77-8BC72552868A}" type="datetime'''''''''''''''''''''2''''''''''''''''''''''7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A9D89D1F-A371-493B-BB31-3BD559691234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27130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329CED5-051A-4C55-9078-72CB0254033A}" type="datetime'''''''''''''''''''0''''''''''''''''''''''''''''4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AD5F3041-F9E5-4E62-8AC1-F434A36BA9BB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29289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7608C18-301B-426B-8BD9-6A2A0FA09589}" type="datetime'''''''1''''''''''''1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5EBA670D-621F-41B0-98D6-99856FB8EA70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31448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1AED318-17AA-4D35-9103-C68ED0CA4A30}" type="datetime'''''''1''''''''''''''''''''''''''8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D7DE8060-E0D6-4C5D-82F1-1FE8AF0B1C4D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3623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51711D9-D760-44DE-90EB-0E234C162B35}" type="datetime'''''''''''''''''''''''''''''''''2''''''''5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31FE8006-D140-464D-A7A5-A965FB890C0B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5782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7EF6F2B-5E47-44FA-981A-36C3D5318DD9}" type="datetime'''''''''''0''''''''''1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19346D78-08F5-4181-9AFA-1D976D0D7F16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37941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B087461-5BFC-49F5-BDF1-38D8AD41D851}" type="datetime'''''''0''''''''''''''''''''''''''''8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049F60A1-2B65-4E43-9959-1ECDF9709563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40100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117701F-C107-4137-BF09-0CACE0DC2DB8}" type="datetime'''''''''''''''''''''''''''''''''1''''''''''5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C1A1ED9B-16BE-4CFF-97DC-B6F8C0E6CA9D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2275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8C7331E-33D4-45C3-AF14-1214D170C773}" type="datetime'''''''''''''''''''''''''''''''''''''''''2''''''''''''''''''2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A64F33A9-D601-4E73-B972-874E69C0A932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4434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E629AE7-133C-4308-BA7A-25792F5DF27F}" type="datetime'''''''''29''''''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704BC911-69A2-4DE6-AAB8-14B09A4F27DB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46593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DA37DA7-AAB5-41E7-AC58-57F534D65FD9}" type="datetime'''''''''''05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C3C2D244-70D1-457F-AB8B-B11EA95E9A4E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48752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572862A-8211-48F7-B1C8-252FB1778CBC}" type="datetime'''''''''''''''''''''''''''''''''''1''''''''''''''''2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51A5FB20-75E6-47E9-99C5-B06112555196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50927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F67080-0452-4B81-96BF-A25002411506}" type="datetime'''''''''''''''''''''''''19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DEC53268-D0E8-491F-87C0-F81E1CDC39CB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3086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A473BCC-EA9E-4CE1-A691-1C8D25F8F017}" type="datetime'''''''''''2''''''6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EC6E276B-A040-4C4E-BFC7-15199E61D9EB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5245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386C9A2-E779-4AFC-9F3E-E9ED96B964B2}" type="datetime'''''''''''''''''0''''''''''''5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0C743BD2-2EE9-4A9B-A67C-3A41F56FDD59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57404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A2A05BE-3805-40B3-85CF-BB50EDC32A64}" type="datetime'''''''''1''''''''2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34B0CBE1-9B9D-4F24-8255-F5B719791FCE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59578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815D67F-9DC7-41AC-A4FB-CA719FDA537F}" type="datetime'''''''''''''''''''''''''''1''''''''''''''''''''''''''''''9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C0057663-2B6D-4BD2-B034-4CF21AEEC319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61737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9832C3-D7C9-4E29-8E06-C99BC0935505}" type="datetime'''''''''''''''2''''''''''''''''6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603B7ABD-E78A-4F31-8883-852F43A27108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3896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D37B881-2727-4B80-996A-612588B90735}" type="datetime'''''''''''''''0''''''''''''''''''''''''''''''''2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64AC61A0-DD16-4CFD-846F-E2CCCCE62ACE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66055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BBEE3FA-911B-40B9-8C05-39F51D8A4BA6}" type="datetime'''''''''''''''''''09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EE6B39A3-F836-453C-B3E9-63B0BB302AAE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68230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EA2949F-7326-4E94-9EA1-83B3604144D4}" type="datetime'''''''''''''''1''''''''''''''''''''''''''''''''6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F88A5633-24C8-4F59-85D4-31939A91F7CD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70389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D56BD35-CEB1-43A0-A69C-46CE3BABB9BE}" type="datetime'''''''''''''''''''''''''''''''''''''''''''''''2''''''3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C15A992E-3217-498D-9D9C-D612532D52DB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2548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015C396-A8CF-4241-ABAC-CF115D1B555E}" type="datetime'''''''''''3''''''''''''''0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04EC84EA-423A-4D18-83EC-FE5C7D103BE4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4723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6F81B29-3AA0-4A6B-88AC-E7A32D05C52F}" type="datetime'''''''0''''''''''''''''''''''''''7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A2BE8C9C-FB2C-4AB0-99C5-A9D8B180A3C6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76882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B096B3C-736D-44FA-907B-3BBB580F2BD5}" type="datetime'1''''''''4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65EACDA2-CA66-4435-AD83-5655DEFB1D4F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79041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3FA9AD8-B032-49A9-A245-68C61509BEE6}" type="datetime'''''''''''''''''''''2''''''''''''''''''1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0E4F65FE-A0B4-46C9-A8EB-9E8CBE7A9335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81200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63ABDA4-958A-487E-9C84-5F85080DAC4B}" type="datetime'''''''''''''''''''''2''''''''''''8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0221E6CA-8359-4A13-A56C-F7E36BC149BF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3375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646F826-5871-455A-A37F-0F915F685000}" type="datetime'''''''''''''''''''''''''''0''''''''''''''4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B42DD403-6F06-404D-913F-E21EF3693611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5534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1BFA82-6D55-41F3-A592-9ECFC8286050}" type="datetime'''''''''11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CC518B0E-CC46-4517-9920-CB42E6216B5B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87693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E34E9DD-3B0D-4151-B928-0107875BBAB1}" type="datetime'1''8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A85A7E70-AEB0-4E44-9940-3A2212747DFE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89852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A2280EF-29CC-45C7-9D76-F91BEDA73FC7}" type="datetime'''''''''''''''2''''''''''''''''''''''5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A52B7251-669C-470C-B0C2-E23B05510004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92027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90D600E-4D36-402E-802D-C4982698F3CC}" type="datetime'''''''''''''''''0''''''''''2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F59923DE-52F9-4A40-B3FC-01450C413C1C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4186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C5FC8FE-CDF9-4173-9312-B9B0A498E400}" type="datetime'''''''''''0''''''''''''''''''9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AFD3CEC7-77E9-43ED-9419-90AAAFBEECFE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96345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F1FA4C5-E8CE-4A1A-9E6F-C4E3E852AFDF}" type="datetime'''''''''''''''''''''''''''''''''''1''''''''''''''''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E222E7A8-AE2B-4830-9D1B-B3BF7E0AC925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98504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1B52289-ED20-4339-BA2B-48AEBD6E2A4A}" type="datetime'''''''''''''''''''2''''''''''''''''3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21A701B4-22DA-49A0-A880-D4AB5A8C5699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100679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2BF324A-7B2A-4213-8802-093F26AD6DA5}" type="datetime'''''''''''''''''''''''''3''''''''''''''''''''0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446006EF-4148-4C64-9F2F-AD2A52B741D5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2838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B3AEF34-9B8D-4E9E-A5A6-A078F8AC52F5}" type="datetime'''''0''''''''6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1DD38C9A-C1B9-4E6D-8473-9E62DF06409B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4997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EDCB9FC-848B-4B0E-AF5F-DDCF99BB9738}" type="datetime'''''''''''''''''''''''''''''''1''3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7D59C0DF-AAA4-4185-9C41-D7F6E82690A5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07156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40AF385-96D2-42C2-87DE-B2D86AA1F700}" type="datetime'''''''''''''2''0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EAD15A91-6B49-4C99-AE7A-00F557C16704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09331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BE10B11-7684-403E-989E-CBF7BC1A9590}" type="datetime'''''''''''''''''''''2''''''''''''''''''7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EBE4A7BC-9EE9-4619-9A1A-8FF603122415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11490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3C4F4A4-07AD-4E35-ACF0-FBBFB3C89905}" type="datetime'''''0''''''''''''''''''''''''''''''3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B319ADE5-EE08-4966-B050-29992BAE8075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3649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7DAE98B-B41A-42A0-97B5-9C24D07916C0}" type="datetime'''''''1''''''''''''''''0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76FF8E4A-4FBC-4A58-8805-C2756502F2CF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115808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525C263-AD78-4522-8B06-BB933FD89208}" type="datetime'''1''''''''''''''''''''''''''''''''''''''''''7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A625D351-92EA-41A9-B5DF-C2065AF2EB1F}"/>
              </a:ext>
            </a:extLst>
          </p:cNvPr>
          <p:cNvSpPr/>
          <p:nvPr userDrawn="1">
            <p:custDataLst>
              <p:tags r:id="rId73"/>
            </p:custDataLst>
          </p:nvPr>
        </p:nvSpPr>
        <p:spPr bwMode="auto">
          <a:xfrm>
            <a:off x="117983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6ED3507-4FA6-4F43-AB2D-21DAF90EC517}" type="datetime'''''''''''''''''''''''''''''''''''''''''''2''''''''''4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74"/>
            </p:custDataLst>
          </p:nvPr>
        </p:nvCxnSpPr>
        <p:spPr bwMode="auto">
          <a:xfrm>
            <a:off x="28416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16922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26193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804C11A-E8DE-4794-AB5B-31251EF27DBF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45354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35782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2FD6D3D-B17B-4AA9-A9FA-87D33EDED79F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54006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73501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12014200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FED8167-F667-47AA-8A0B-B38237FC5CB3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63595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1815AF5-BC5A-408F-8C41-0A72B6670997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72866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7797EDB-7FFD-4817-891F-386BBFBB6E8D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82438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CF02708-F018-4E18-8981-343E38039E11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91709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A347AC4-72FD-4137-B0C3-E989C4D1038A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101298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BDF269D-E3A2-4D86-B48C-D3668D1DAC93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1108710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284163" y="392271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F887B51-A14C-40FF-9E44-A3BAFAEDE1DE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5607050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307975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223837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92"/>
            </p:custDataLst>
          </p:nvPr>
        </p:nvCxnSpPr>
        <p:spPr bwMode="auto">
          <a:xfrm>
            <a:off x="284163" y="476408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3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94"/>
            </p:custDataLst>
          </p:nvPr>
        </p:nvCxnSpPr>
        <p:spPr bwMode="auto">
          <a:xfrm>
            <a:off x="284163" y="13954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95"/>
            </p:custDataLst>
          </p:nvPr>
        </p:nvSpPr>
        <p:spPr bwMode="auto">
          <a:xfrm>
            <a:off x="325438" y="1263650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96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97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4" name="Text Placeholder 4">
            <a:extLst>
              <a:ext uri="{FF2B5EF4-FFF2-40B4-BE49-F238E27FC236}">
                <a16:creationId xmlns:a16="http://schemas.microsoft.com/office/drawing/2014/main" id="{BD7FF597-12CE-479B-9A75-114198DEBD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 rot="16200000">
            <a:off x="144279" y="5853678"/>
            <a:ext cx="730654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261" name="Text Placeholder 4">
            <a:extLst>
              <a:ext uri="{FF2B5EF4-FFF2-40B4-BE49-F238E27FC236}">
                <a16:creationId xmlns:a16="http://schemas.microsoft.com/office/drawing/2014/main" id="{B8FBAFCE-1144-43AA-AA49-796E305B3BC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 rot="16200000">
            <a:off x="144279" y="5010716"/>
            <a:ext cx="730654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262" name="Text Placeholder 4">
            <a:extLst>
              <a:ext uri="{FF2B5EF4-FFF2-40B4-BE49-F238E27FC236}">
                <a16:creationId xmlns:a16="http://schemas.microsoft.com/office/drawing/2014/main" id="{B36CD2C8-84B7-4102-9B83-45E829A4094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16200000">
            <a:off x="144279" y="4177736"/>
            <a:ext cx="730654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263" name="Text Placeholder 4">
            <a:extLst>
              <a:ext uri="{FF2B5EF4-FFF2-40B4-BE49-F238E27FC236}">
                <a16:creationId xmlns:a16="http://schemas.microsoft.com/office/drawing/2014/main" id="{D42B9BA7-78BD-4BB7-B6F8-849070D3452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 rot="16200000">
            <a:off x="144279" y="3345110"/>
            <a:ext cx="730654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264" name="Text Placeholder 4">
            <a:extLst>
              <a:ext uri="{FF2B5EF4-FFF2-40B4-BE49-F238E27FC236}">
                <a16:creationId xmlns:a16="http://schemas.microsoft.com/office/drawing/2014/main" id="{BEF12BEE-C692-4220-B31A-4310F27C0F1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 rot="16200000">
            <a:off x="144279" y="2502147"/>
            <a:ext cx="730654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265" name="Text Placeholder 4">
            <a:extLst>
              <a:ext uri="{FF2B5EF4-FFF2-40B4-BE49-F238E27FC236}">
                <a16:creationId xmlns:a16="http://schemas.microsoft.com/office/drawing/2014/main" id="{ED62F093-8B60-4772-A6FE-268273E545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rot="16200000">
            <a:off x="144279" y="1652023"/>
            <a:ext cx="730654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2053437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G_6 Lane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5" name="think-cell Slide" r:id="rId71" imgW="360" imgH="360" progId="TCLayout.ActiveDocument.1">
                  <p:embed/>
                </p:oleObj>
              </mc:Choice>
              <mc:Fallback>
                <p:oleObj name="think-cell Slide" r:id="rId71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2144713"/>
            <a:ext cx="6746875" cy="8604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3867150"/>
            <a:ext cx="6746875" cy="8604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60AF63-EEB8-4A8E-9111-10BCCE08388E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284163" y="5588000"/>
            <a:ext cx="6746875" cy="86201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E9770D5-5CD9-4C43-A300-172B097628D1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735013" y="982663"/>
            <a:ext cx="6296025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BF0DFD-E272-4E7E-933A-82534E2730F3}" type="datetime'''''''''2''''''''''''''''''''0''''''''''''2''2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24E0AED3-28EC-4D7A-A5FA-15F1ED1D7873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735013" y="1133475"/>
            <a:ext cx="714375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4D0C2CE-5E75-485B-BE7C-95023B35514B}" type="datetime'J''''''''''''''''''''''a''''''''n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53AE903C-7A7D-4E2B-B84D-DF72BA8646B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1449388" y="1133475"/>
            <a:ext cx="64611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14E7F22-1388-4C02-8C57-145DAFAA0724}" type="datetime'''''''''''''Feb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3E31B610-0A93-4059-AC37-D0408841205D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2095500" y="1133475"/>
            <a:ext cx="714375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03B750B-1DA8-4711-9F72-DABD8E0A5867}" type="datetime'''M''''''''''''''''''''''''''ar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0F81C145-2690-4C94-8454-8AA21CEB3334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2809875" y="1133475"/>
            <a:ext cx="6921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E2DD7EE-F686-4C6A-B8EC-2CDC3C3599CA}" type="datetime'''''''''''''''''''A''''''''''''''''p''''''''r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BB989622-68CA-469E-B3CF-6CE2E896CF4A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3502026" y="1133475"/>
            <a:ext cx="7159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52EF1F3-DC74-4B3F-B72C-7FE50606F30B}" type="datetime'''''''M''''''a''''''''''''y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427BAAC6-BA67-4FA9-ABB6-5BA526564948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4217989" y="1133475"/>
            <a:ext cx="6905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CDB3BBD-926C-4DA3-973F-8E1FFFD45C61}" type="datetime'''''''''''''''''''''J''''''''''''u''''''''n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F2076BE-5B28-45CD-B41C-C2262051AD35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4908551" y="1133475"/>
            <a:ext cx="7159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83E2F5-ECCE-4F5E-BE16-6EC159E309C4}" type="datetime'''J''''u''''''''''''''''''''l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D02BA8FC-A3AB-46D8-849B-E615B4097EA4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5624514" y="1133475"/>
            <a:ext cx="714375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C921608-016D-46E6-B622-70D65DDA322F}" type="datetime'''''''A''''''''''u''''''''g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6CDDBEFE-F600-4C4C-A746-5176C3BD7650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6338888" y="1133475"/>
            <a:ext cx="6921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BE477A9-2913-4315-9B6C-8DFC86C1F111}" type="datetime'''S''''''''''''''''''''''''''''''''''''e''''''''''''''''p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17"/>
            </p:custDataLst>
          </p:nvPr>
        </p:nvCxnSpPr>
        <p:spPr bwMode="auto">
          <a:xfrm>
            <a:off x="284163" y="1284288"/>
            <a:ext cx="0" cy="51657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42A0B94-43DA-472C-9AB1-F5B217A04D1E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 bwMode="auto">
          <a:xfrm>
            <a:off x="1449388" y="1284288"/>
            <a:ext cx="0" cy="51657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C5200A6-86B9-4DEA-9F4D-31E4CF6EE112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 bwMode="auto">
          <a:xfrm>
            <a:off x="2095500" y="1284288"/>
            <a:ext cx="0" cy="51657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48D8CDE-7A16-4E15-8321-E0D16926563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 bwMode="auto">
          <a:xfrm>
            <a:off x="2809875" y="1284288"/>
            <a:ext cx="0" cy="51657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A00CD51-F7C1-422A-9368-1B312FFAE957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 bwMode="auto">
          <a:xfrm>
            <a:off x="3502025" y="1284288"/>
            <a:ext cx="0" cy="51657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0C8D7C4-219F-43D3-89CE-060AEFEE0BF8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 bwMode="auto">
          <a:xfrm>
            <a:off x="4217988" y="1284288"/>
            <a:ext cx="0" cy="51657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 bwMode="auto">
          <a:xfrm>
            <a:off x="735013" y="1284288"/>
            <a:ext cx="0" cy="51657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E2A2317-30D7-4160-840A-96140D359547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 bwMode="auto">
          <a:xfrm>
            <a:off x="5624513" y="1284288"/>
            <a:ext cx="0" cy="51657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25"/>
            </p:custDataLst>
          </p:nvPr>
        </p:nvCxnSpPr>
        <p:spPr bwMode="auto">
          <a:xfrm>
            <a:off x="7031038" y="1284288"/>
            <a:ext cx="0" cy="51657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69DE9E9-36CC-4AEF-BD72-94005883932B}"/>
              </a:ext>
            </a:extLst>
          </p:cNvPr>
          <p:cNvCxnSpPr/>
          <p:nvPr userDrawn="1">
            <p:custDataLst>
              <p:tags r:id="rId26"/>
            </p:custDataLst>
          </p:nvPr>
        </p:nvCxnSpPr>
        <p:spPr bwMode="auto">
          <a:xfrm>
            <a:off x="4908550" y="1284288"/>
            <a:ext cx="0" cy="51657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AF25C0F-8A74-431B-A960-610CB178EA4A}"/>
              </a:ext>
            </a:extLst>
          </p:cNvPr>
          <p:cNvCxnSpPr/>
          <p:nvPr userDrawn="1">
            <p:custDataLst>
              <p:tags r:id="rId27"/>
            </p:custDataLst>
          </p:nvPr>
        </p:nvCxnSpPr>
        <p:spPr bwMode="auto">
          <a:xfrm>
            <a:off x="6338888" y="1284288"/>
            <a:ext cx="0" cy="51657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28"/>
            </p:custDataLst>
          </p:nvPr>
        </p:nvCxnSpPr>
        <p:spPr bwMode="auto">
          <a:xfrm>
            <a:off x="284163" y="2144713"/>
            <a:ext cx="67468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29"/>
            </p:custDataLst>
          </p:nvPr>
        </p:nvCxnSpPr>
        <p:spPr bwMode="auto">
          <a:xfrm>
            <a:off x="284163" y="3005138"/>
            <a:ext cx="67468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30"/>
            </p:custDataLst>
          </p:nvPr>
        </p:nvCxnSpPr>
        <p:spPr bwMode="auto">
          <a:xfrm>
            <a:off x="284163" y="3867150"/>
            <a:ext cx="67468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31"/>
            </p:custDataLst>
          </p:nvPr>
        </p:nvCxnSpPr>
        <p:spPr bwMode="auto">
          <a:xfrm>
            <a:off x="284163" y="4727575"/>
            <a:ext cx="67468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F887B51-A14C-40FF-9E44-A3BAFAEDE1DE}"/>
              </a:ext>
            </a:extLst>
          </p:cNvPr>
          <p:cNvCxnSpPr/>
          <p:nvPr userDrawn="1">
            <p:custDataLst>
              <p:tags r:id="rId32"/>
            </p:custDataLst>
          </p:nvPr>
        </p:nvCxnSpPr>
        <p:spPr bwMode="auto">
          <a:xfrm>
            <a:off x="284163" y="5588000"/>
            <a:ext cx="67468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33"/>
            </p:custDataLst>
          </p:nvPr>
        </p:nvCxnSpPr>
        <p:spPr bwMode="auto">
          <a:xfrm>
            <a:off x="284163" y="6450013"/>
            <a:ext cx="67468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34"/>
            </p:custDataLst>
          </p:nvPr>
        </p:nvCxnSpPr>
        <p:spPr bwMode="auto">
          <a:xfrm>
            <a:off x="284163" y="1284288"/>
            <a:ext cx="67468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25438" y="1147763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4" name="Text Placeholder 4">
            <a:extLst>
              <a:ext uri="{FF2B5EF4-FFF2-40B4-BE49-F238E27FC236}">
                <a16:creationId xmlns:a16="http://schemas.microsoft.com/office/drawing/2014/main" id="{BD7FF597-12CE-479B-9A75-114198DEBD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 rot="16200000">
            <a:off x="144279" y="5853678"/>
            <a:ext cx="730654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261" name="Text Placeholder 4">
            <a:extLst>
              <a:ext uri="{FF2B5EF4-FFF2-40B4-BE49-F238E27FC236}">
                <a16:creationId xmlns:a16="http://schemas.microsoft.com/office/drawing/2014/main" id="{B8FBAFCE-1144-43AA-AA49-796E305B3BC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 rot="16200000">
            <a:off x="144279" y="5002090"/>
            <a:ext cx="730654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262" name="Text Placeholder 4">
            <a:extLst>
              <a:ext uri="{FF2B5EF4-FFF2-40B4-BE49-F238E27FC236}">
                <a16:creationId xmlns:a16="http://schemas.microsoft.com/office/drawing/2014/main" id="{B36CD2C8-84B7-4102-9B83-45E829A4094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16200000">
            <a:off x="144279" y="4143232"/>
            <a:ext cx="730654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263" name="Text Placeholder 4">
            <a:extLst>
              <a:ext uri="{FF2B5EF4-FFF2-40B4-BE49-F238E27FC236}">
                <a16:creationId xmlns:a16="http://schemas.microsoft.com/office/drawing/2014/main" id="{D42B9BA7-78BD-4BB7-B6F8-849070D3452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 rot="16200000">
            <a:off x="144279" y="3276101"/>
            <a:ext cx="730654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264" name="Text Placeholder 4">
            <a:extLst>
              <a:ext uri="{FF2B5EF4-FFF2-40B4-BE49-F238E27FC236}">
                <a16:creationId xmlns:a16="http://schemas.microsoft.com/office/drawing/2014/main" id="{BEF12BEE-C692-4220-B31A-4310F27C0F1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 rot="16200000">
            <a:off x="144279" y="2424511"/>
            <a:ext cx="730654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265" name="Text Placeholder 4">
            <a:extLst>
              <a:ext uri="{FF2B5EF4-FFF2-40B4-BE49-F238E27FC236}">
                <a16:creationId xmlns:a16="http://schemas.microsoft.com/office/drawing/2014/main" id="{ED62F093-8B60-4772-A6FE-268273E545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rot="16200000">
            <a:off x="144279" y="1557134"/>
            <a:ext cx="730654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15609580-E9DE-4907-A2C0-5DBCD6B5CC35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7031038" y="3867150"/>
            <a:ext cx="4932363" cy="8604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6898E4E2-2F41-4B13-B02C-3BDE8E37A58D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7031038" y="5588000"/>
            <a:ext cx="4932363" cy="86201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D5DE8C49-26FE-4AB2-8D02-3EE9FAB16E27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7031038" y="2144713"/>
            <a:ext cx="4932363" cy="8604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FC56DE0F-0AA0-40BC-BA56-B1B445826BFE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7031039" y="982663"/>
            <a:ext cx="55086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FF76723-481A-4E2A-B36B-BFB582F71009}" type="datetime'''''''''''''''''''''2''''0''''''''''2''2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AFBF4944-E6E9-4B0E-8F2F-643B2AC38C4E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7581900" y="982663"/>
            <a:ext cx="2187575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4D29D95-2E26-4D6B-9D00-EF66B7A76DC0}" type="datetime'''''''2''02''''''''''''''''''''''''''''''''''''''''''3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BF5F5461-3D10-42BC-83E5-3810168A9F50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9769475" y="982663"/>
            <a:ext cx="2193925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FA6AB36-A5EA-425C-BE9F-197EE80A232E}" type="datetime'''2''''02''''''4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4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9A5759D9-AD89-4174-9EF2-C0DF4A37C280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7031038" y="1133475"/>
            <a:ext cx="55086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C3A992F-135B-4B5B-84EB-87AD334FD0DE}" type="datetime'''''''''''''''''''''''''''''Q''''''''''''''''4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Q4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EEE4D7C9-7A85-4EBE-8AFB-F586F0CB28A5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7581900" y="1133475"/>
            <a:ext cx="5397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100731E-691E-49F2-80BE-88571D0D5B6C}" type="datetime'''''''''''''''''''''Q''1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Q1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B245DEB4-9F04-4C29-89DA-8B565547EC64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8121650" y="1133475"/>
            <a:ext cx="54610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72017D7-4B6F-42A5-A67F-4BF2291C1A7E}" type="datetime'''Q''''''2''''''''''''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Q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0058E74F-89C6-4737-A515-BBD932E0DAC3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8667750" y="1133475"/>
            <a:ext cx="55086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6D5500E-A0A3-4D93-9FCA-CECA2C882395}" type="datetime'''''''''''''''''''''''''''''''''Q''''''''''''''''''3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Q3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30EC3520-D77B-4181-9997-5DFB8BBB7D5A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9218613" y="1133475"/>
            <a:ext cx="55086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4C84B35-9ECF-4D30-9BFB-C95DCE37B8F6}" type="datetime'Q''''''''''''''''''''''''''''4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Q4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1A82634E-D30C-447B-9683-F0468B263186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9769475" y="1133475"/>
            <a:ext cx="54610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708F2FD-6679-420F-979E-E20BA229F709}" type="datetime'''''''Q''''''''''''''''''''''''''''''''''''''''''''1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Q1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2C467186-2358-4B17-8825-32216966D5AF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10315575" y="1133475"/>
            <a:ext cx="54451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851FB6A-1330-416B-816E-C75214C9F66A}" type="datetime'''''''''''Q''''''''''''''''''''''''''''''''''2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Q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DFCB4723-D2B8-443D-BB29-78E465A3A3A0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10860088" y="1133475"/>
            <a:ext cx="55245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FC8F8B3-3BAD-4181-8C76-217B674E60FD}" type="datetime'''''''''''''''Q''''''''''''''''''''''''''''''''3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Q3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1BA2665F-6D67-420A-B9D0-80C5789E175B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11412538" y="1133475"/>
            <a:ext cx="55086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A280A54-0A1E-43B1-A2E8-A3FE365D232C}" type="datetime'''''''''''''''''''''Q''''''''''''''''''''4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Q4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9CA5AA42-E976-4207-8639-8CE77E2FA0E9}"/>
              </a:ext>
            </a:extLst>
          </p:cNvPr>
          <p:cNvCxnSpPr/>
          <p:nvPr userDrawn="1">
            <p:custDataLst>
              <p:tags r:id="rId53"/>
            </p:custDataLst>
          </p:nvPr>
        </p:nvCxnSpPr>
        <p:spPr bwMode="auto">
          <a:xfrm>
            <a:off x="11963400" y="1284288"/>
            <a:ext cx="0" cy="51657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552E91A-69F5-4E37-B2E7-8F391208DC6C}"/>
              </a:ext>
            </a:extLst>
          </p:cNvPr>
          <p:cNvCxnSpPr/>
          <p:nvPr userDrawn="1">
            <p:custDataLst>
              <p:tags r:id="rId54"/>
            </p:custDataLst>
          </p:nvPr>
        </p:nvCxnSpPr>
        <p:spPr bwMode="auto">
          <a:xfrm>
            <a:off x="7581900" y="1284288"/>
            <a:ext cx="0" cy="51657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A3E03437-FB33-4B4C-8B92-74E390CE40E8}"/>
              </a:ext>
            </a:extLst>
          </p:cNvPr>
          <p:cNvCxnSpPr/>
          <p:nvPr userDrawn="1">
            <p:custDataLst>
              <p:tags r:id="rId55"/>
            </p:custDataLst>
          </p:nvPr>
        </p:nvCxnSpPr>
        <p:spPr bwMode="auto">
          <a:xfrm>
            <a:off x="8121650" y="1284288"/>
            <a:ext cx="0" cy="51657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544065E-9C5E-41B9-B3F7-5DD2599C1DE2}"/>
              </a:ext>
            </a:extLst>
          </p:cNvPr>
          <p:cNvCxnSpPr/>
          <p:nvPr userDrawn="1">
            <p:custDataLst>
              <p:tags r:id="rId56"/>
            </p:custDataLst>
          </p:nvPr>
        </p:nvCxnSpPr>
        <p:spPr bwMode="auto">
          <a:xfrm>
            <a:off x="8667750" y="1284288"/>
            <a:ext cx="0" cy="51657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9BE4F5DB-07E7-459A-8B92-0AAA179B4237}"/>
              </a:ext>
            </a:extLst>
          </p:cNvPr>
          <p:cNvCxnSpPr/>
          <p:nvPr userDrawn="1">
            <p:custDataLst>
              <p:tags r:id="rId57"/>
            </p:custDataLst>
          </p:nvPr>
        </p:nvCxnSpPr>
        <p:spPr bwMode="auto">
          <a:xfrm>
            <a:off x="9218613" y="1284288"/>
            <a:ext cx="0" cy="51657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A25BBBB-C569-4EA8-B1FB-83DB15D0ED92}"/>
              </a:ext>
            </a:extLst>
          </p:cNvPr>
          <p:cNvCxnSpPr/>
          <p:nvPr userDrawn="1">
            <p:custDataLst>
              <p:tags r:id="rId58"/>
            </p:custDataLst>
          </p:nvPr>
        </p:nvCxnSpPr>
        <p:spPr bwMode="auto">
          <a:xfrm>
            <a:off x="9769475" y="1284288"/>
            <a:ext cx="0" cy="51657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4A56010-CE22-440F-9DF5-4FFC588CADAD}"/>
              </a:ext>
            </a:extLst>
          </p:cNvPr>
          <p:cNvCxnSpPr/>
          <p:nvPr userDrawn="1">
            <p:custDataLst>
              <p:tags r:id="rId59"/>
            </p:custDataLst>
          </p:nvPr>
        </p:nvCxnSpPr>
        <p:spPr bwMode="auto">
          <a:xfrm>
            <a:off x="10315575" y="1284288"/>
            <a:ext cx="0" cy="51657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16BFCAC0-8CAA-4693-A37F-9659C5B7DFB3}"/>
              </a:ext>
            </a:extLst>
          </p:cNvPr>
          <p:cNvCxnSpPr/>
          <p:nvPr userDrawn="1">
            <p:custDataLst>
              <p:tags r:id="rId60"/>
            </p:custDataLst>
          </p:nvPr>
        </p:nvCxnSpPr>
        <p:spPr bwMode="auto">
          <a:xfrm>
            <a:off x="10860088" y="1284288"/>
            <a:ext cx="0" cy="51657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4A6CEE6-B497-4FFF-9A14-A24B5287F3DA}"/>
              </a:ext>
            </a:extLst>
          </p:cNvPr>
          <p:cNvCxnSpPr/>
          <p:nvPr userDrawn="1">
            <p:custDataLst>
              <p:tags r:id="rId61"/>
            </p:custDataLst>
          </p:nvPr>
        </p:nvCxnSpPr>
        <p:spPr bwMode="auto">
          <a:xfrm>
            <a:off x="11412538" y="1284288"/>
            <a:ext cx="0" cy="51657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746490E3-20B9-42D7-9F72-125834673D64}"/>
              </a:ext>
            </a:extLst>
          </p:cNvPr>
          <p:cNvCxnSpPr/>
          <p:nvPr userDrawn="1">
            <p:custDataLst>
              <p:tags r:id="rId62"/>
            </p:custDataLst>
          </p:nvPr>
        </p:nvCxnSpPr>
        <p:spPr bwMode="auto">
          <a:xfrm>
            <a:off x="7031038" y="1284288"/>
            <a:ext cx="0" cy="51657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E6EEDB3-0A8D-4BB1-9277-3B4FD34458C9}"/>
              </a:ext>
            </a:extLst>
          </p:cNvPr>
          <p:cNvCxnSpPr/>
          <p:nvPr userDrawn="1">
            <p:custDataLst>
              <p:tags r:id="rId63"/>
            </p:custDataLst>
          </p:nvPr>
        </p:nvCxnSpPr>
        <p:spPr bwMode="auto">
          <a:xfrm>
            <a:off x="7031038" y="2144713"/>
            <a:ext cx="49323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4EF07CA2-3F24-4981-9835-AC6E08FE900C}"/>
              </a:ext>
            </a:extLst>
          </p:cNvPr>
          <p:cNvCxnSpPr/>
          <p:nvPr userDrawn="1">
            <p:custDataLst>
              <p:tags r:id="rId64"/>
            </p:custDataLst>
          </p:nvPr>
        </p:nvCxnSpPr>
        <p:spPr bwMode="auto">
          <a:xfrm>
            <a:off x="7031038" y="3005138"/>
            <a:ext cx="49323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8D09BA36-EE6B-4710-9DC4-068434A7C579}"/>
              </a:ext>
            </a:extLst>
          </p:cNvPr>
          <p:cNvCxnSpPr/>
          <p:nvPr userDrawn="1">
            <p:custDataLst>
              <p:tags r:id="rId65"/>
            </p:custDataLst>
          </p:nvPr>
        </p:nvCxnSpPr>
        <p:spPr bwMode="auto">
          <a:xfrm>
            <a:off x="7031038" y="3867150"/>
            <a:ext cx="49323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C02D3A77-0818-4759-A660-D27CD23F56D5}"/>
              </a:ext>
            </a:extLst>
          </p:cNvPr>
          <p:cNvCxnSpPr/>
          <p:nvPr userDrawn="1">
            <p:custDataLst>
              <p:tags r:id="rId66"/>
            </p:custDataLst>
          </p:nvPr>
        </p:nvCxnSpPr>
        <p:spPr bwMode="auto">
          <a:xfrm>
            <a:off x="7031038" y="4727575"/>
            <a:ext cx="49323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7224E111-A4F8-4BEE-AC21-C8597DB3F8E4}"/>
              </a:ext>
            </a:extLst>
          </p:cNvPr>
          <p:cNvCxnSpPr/>
          <p:nvPr userDrawn="1">
            <p:custDataLst>
              <p:tags r:id="rId67"/>
            </p:custDataLst>
          </p:nvPr>
        </p:nvCxnSpPr>
        <p:spPr bwMode="auto">
          <a:xfrm>
            <a:off x="7031038" y="5588000"/>
            <a:ext cx="49323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0F54B0AB-5D8E-4DD6-A405-6373A8F9D9A0}"/>
              </a:ext>
            </a:extLst>
          </p:cNvPr>
          <p:cNvCxnSpPr/>
          <p:nvPr userDrawn="1">
            <p:custDataLst>
              <p:tags r:id="rId68"/>
            </p:custDataLst>
          </p:nvPr>
        </p:nvCxnSpPr>
        <p:spPr bwMode="auto">
          <a:xfrm>
            <a:off x="7031038" y="6450013"/>
            <a:ext cx="49323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F2466694-E0DB-4F71-8860-99659027B8EB}"/>
              </a:ext>
            </a:extLst>
          </p:cNvPr>
          <p:cNvCxnSpPr/>
          <p:nvPr userDrawn="1">
            <p:custDataLst>
              <p:tags r:id="rId69"/>
            </p:custDataLst>
          </p:nvPr>
        </p:nvCxnSpPr>
        <p:spPr bwMode="auto">
          <a:xfrm>
            <a:off x="7031038" y="1284288"/>
            <a:ext cx="49323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2300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Lane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9" name="think-cell Slide" r:id="rId100" imgW="360" imgH="360" progId="TCLayout.ActiveDocument.1">
                  <p:embed/>
                </p:oleObj>
              </mc:Choice>
              <mc:Fallback>
                <p:oleObj name="think-cell Slide" r:id="rId100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8195978-4248-4910-9A75-04356CE1721E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3562350"/>
            <a:ext cx="11730037" cy="7207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5005388"/>
            <a:ext cx="11730037" cy="72231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284163" y="2117725"/>
            <a:ext cx="11730037" cy="72231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E9770D5-5CD9-4C43-A300-172B097628D1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735012" y="982663"/>
            <a:ext cx="849788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BF0DFD-E272-4E7E-933A-82534E2730F3}" type="datetime'''''''''2''''''''''''''''''''0''''''''''''2''2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F19F00BC-C3D0-425B-9305-BFB5E3F44FD8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9232900" y="982663"/>
            <a:ext cx="278130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5C5A9FF-443C-4347-A5DF-5BAF201990E7}" type="datetime'''''''''2''''0''''''2''''''''''''''''''''''''''''3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0F81C145-2690-4C94-8454-8AA21CEB3334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735013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E2DD7EE-F686-4C6A-B8EC-2CDC3C3599CA}" type="datetime'''''''''''''''''''A''''''''''''''''p''''''''r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BB989622-68CA-469E-B3CF-6CE2E896CF4A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1662113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52EF1F3-DC74-4B3F-B72C-7FE50606F30B}" type="datetime'''''''M''''''a''''''''''''y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427BAAC6-BA67-4FA9-ABB6-5BA526564948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261937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CDB3BBD-926C-4DA3-973F-8E1FFFD45C61}" type="datetime'''''''''''''''''''''J''''''''''''u''''''''n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0A123007-420C-40AD-8DFF-BE9525D2CD8B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35464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DCC2C1-E93C-498F-9859-6879A8DC1BC0}" type="datetime'''J''''''''''''''''u''''''''''''''''''''''''''''''l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9380045F-37D5-4434-965A-1C855A14A07F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4505325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3DA1251-3295-4300-A72B-43F64E8FD7C2}" type="datetime'''''''''A''''''''''''''''''''u''g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E3F4E0E7-53B8-47FE-9D2B-773E12F8CD87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546258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F7524B8-8316-42B9-AC65-46AA309D1490}" type="datetime'''''''''''''''''''''''''S''''''''''''ep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5FD8E58F-9384-4864-B600-911FFD1F2EAE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6389688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9A5DDA7-751F-4572-9321-69B3464EADAF}" type="datetime'''''''O''''''''''''''''''''''c''''''t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96E02733-32A0-42C7-A960-E61855DACD6C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734853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D0E16CD-AE71-4C2A-A99E-90EE308FF9DA}" type="datetime'''''''''N''''''''o''''''''''''''''''''''''''''''''v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022FA062-BA77-4218-A110-D33A20B5D20B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8275638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6748234-6A67-4F2A-9C8A-D4FBF17AA616}" type="datetime'D''''''''e''''''''c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0CCB2A32-63FB-4829-AE07-E39AB3B8229D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9232900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9D22F4E-B68A-4E55-8389-0509CBCDA4D8}" type="datetime'''''''''''J''a''''''''''''''''''n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E1D76A5B-93E5-4703-BB9E-E2B63D7E09F5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10191750" y="1133475"/>
            <a:ext cx="86518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9DDB750-1316-4233-A647-AD9E6650AFCC}" type="datetime'''''''Fe''b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EC03AEA7-9937-489D-9938-EA049CB240DB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11056938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9679E17-7D85-413C-A506-DE092D1C3ADC}" type="datetime'''M''''a''''''r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C353B356-4523-4EBB-8BB5-4BEE486EFDA8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735013" y="1284288"/>
            <a:ext cx="6191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5609A8C5-6F5A-4550-B22E-654B7E2101C4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79692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D8F118-CBBD-4762-817A-055703699BA9}" type="datetime'''''''''''''''''''''''''''''''''''''''''0''''''''3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A1943558-0C92-4E99-A787-BBB1C8828EFB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101282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259F03-6E18-4779-930F-251F417874E6}" type="datetime'''''1''''''''''''''''''''''''''''''''''''''''0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0CDCFC8-95BF-4577-92F4-D3D1D21F219B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228724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343E31A-C26F-475F-B860-FC899D288650}" type="datetime'''''''''''''''''1''''''''''''''''''''''''''''''7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EC14448-42E8-45BE-8DA8-EF845841B2C0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44621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0240EFC-0EBE-4EE6-B9EE-C4C9CF945042}" type="datetime'''''''''''''''''''''''''''''''''''''''''''''2''''''''''4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95C90B70-E522-40BB-808D-E77C9CED9CA5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166211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7F93BE0-24ED-4A39-9962-731338525248}" type="datetime'''''''''''''''''''0''''''''''''''''''''''''''''1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400093FB-249D-4F1E-9815-FBB2F5130F10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18780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634AEB2-ECD3-4E25-B83D-6FF7BC146DA3}" type="datetime'''''''''0''''''''''''''''''''''''''''''8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FF192964-A361-4542-8CE1-C9EF7E8185B2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2093912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35717EC-5376-4304-BAC0-217532DD523A}" type="datetime'''''''''1''''''''''''''''''''5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B7FCF34C-1B18-4A4F-891A-39EBA462013A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311399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2B21F7C-B124-4E92-B6E2-DC3328677F28}" type="datetime'''''''''''''''''''''2''''''''''2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0C44E939-8B94-4731-A750-C2E3E393116D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527299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9B20D4F-E2C9-4017-9693-D1E781E4FCB4}" type="datetime'''''''''''''29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F46E74E0-4873-4A93-B09A-A7B619A27EBE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2743199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DEA1314-9A91-4D14-816A-FE88681B58DF}" type="datetime'''0''5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C0D6DC35-6D76-4F8F-8256-FD78110ED1F0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2960687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2DFAD3A-7041-4715-86CA-C20D966C06D0}" type="datetime'''''''''''''''''''''''1''''''''''2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3E13995B-8198-415A-9156-E015150B61B7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3176587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BF7D18D-8A61-4761-AEA5-DB3A1DAFFC81}" type="datetime'''''''''''''''''''''''''''''1''''9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448A726D-607A-46CC-AA6A-FE7C8D4D2966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392487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708B8A3-74D1-447A-9328-0832107227B6}" type="datetime'''''''''''''''''''2''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12ECE431-48F4-4504-A521-88F3E41B33F2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608387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0D8ABB-9C25-409B-8FBF-7EAC8AEB9F21}" type="datetime'''''''''''''''0''3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259CDD20-6560-4A24-80A9-B2EA2AA7A9D4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382587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ABDCD07-E733-4073-9D55-D6B50AE9776B}" type="datetime'''1''''''''''''''''''''''''''''''''''''''''''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88086E06-1D2A-43FC-AC66-D79253D6C3B1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404177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67D064E-5417-42DE-BA89-6F70088F316C}" type="datetime'''''''1''''''''''''''''''''''''7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9381CBBF-CF58-43C5-B7D4-029DE12B23CB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2576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53433C-5DF8-47BF-B2C1-0A9734FC607B}" type="datetime'''''2''''''4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598338B8-9942-4BCA-85E0-7CD5F7082476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473574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C52B17D-23AF-4CBA-87A4-59AB58A96C3A}" type="datetime'''''''''''''''''''''''''''3''''''''''''''''1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1AE64C6A-1E0A-4591-B765-474F768E8A0B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469106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6AF1CD8-4202-4423-BC0D-75772C8CBC67}" type="datetime'''''''''''''''''''''''''''''''''''''''''''0''''''7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EF81C301-5DC0-4E2B-B996-EB8BA7CF75CB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490696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428621C-C16E-4C82-8847-4E3CDC3E8710}" type="datetime'''''''''''''''''''''''''''1''''''''''4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D90D22F9-2E45-48F1-936B-AE680EEE9520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512286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569E58B-F1A4-424B-ACE6-5F36A9DEE3F9}" type="datetime'''''''''''''''''''''''''''''''''''2''1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1A3CF60B-B0FF-4DA4-B933-2BB89DF9ACF3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338762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2AA00F4-2551-4880-A746-B642AC99BB55}" type="datetime'''''''''''2''''''''''''''''''''''''''''''''''''8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091F0779-79A5-41DD-8A40-75C7D16E363F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556249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B4B498D-F2C5-4D72-A479-80917EFD2FF1}" type="datetime'''''''''''0''''''''''''''''''''''4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DF44981B-BDED-4984-9D84-8B5F28E800C8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5772149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296656C-42FC-4E6A-858D-7BAC626AFA64}" type="datetime'''''''''''''''''''''''''''''1''''''''''''''''''''1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2AFDA08E-A1E2-45CB-B1C2-2A693E44E346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5988049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599EB92-0565-4B19-A93E-5D0FA665A58E}" type="datetime'''''1''''''''''''''''8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A55D728A-3502-4C9D-B34D-A6A3DA089527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6203949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B89F460-2076-4A4B-8FDA-61CA85C83CDA}" type="datetime'''''''''''''''''''''''''''''''''''''''''2''''5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A1324918-1BBF-44CB-97AA-C8FA1C9B2D2E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421437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1652EC4-7A2E-45D8-8004-2D5DFE0889A5}" type="datetime'0''''''''''''2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94046104-3531-4A2D-9460-890FEAC57AFF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66373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3A0A18D-BBFF-4D07-8174-504F031A281D}" type="datetime'0''''''''''''''''''''''''''9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2B94D7B0-C602-4F04-A8A1-E99DD18E12FE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6853237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909E432-FEEF-4BBA-BDC3-502A3D5A3F8C}" type="datetime'1''''''''''''''''''''''''''''''''''''6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422DD973-164B-48CB-A4CC-5ABCA2BAC367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7069137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BC54AE0-5A14-47DD-98FF-9228E70FC0E4}" type="datetime'''''''2''''3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0C7D3BED-D67C-403C-A0B7-BD07224EEBC3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28662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ABFEB5-550E-460E-BC89-D07C6B040CE1}" type="datetime'''3''''''''''''''''''''''0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716A01D5-8A46-4526-B245-695F86B48562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50252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CC99A3A-FA4C-48AC-997C-3E0F68FD8848}" type="datetime'''''''''''''''''06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984AB430-316D-4E41-827F-14C9D58ABC87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7718424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113FA66-6D0B-4CC6-A4FB-BA20D41BC3C4}" type="datetime'''''''1''''''''''''''3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DE95A5F1-078D-4489-882E-DBFECAEE8976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793591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1B0E375-4F67-40EC-B123-698F0151E795}" type="datetime'''''2''''''''0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0FD6CD32-62FB-4610-8722-3605D5D8F179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815181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6649AD5-E1C1-4007-99D9-312F3BE9E567}" type="datetime'''''''''2''''''''''''''''''''''''''''''7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372D1318-3E88-49B8-8C0E-05F370A05B71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36771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1600F6B-FF7D-4EBE-9CF4-7FAE8D51E759}" type="datetime'''''''''''''''''''''''''''''''''''''0''''''''''''''4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9E367C41-C755-4CF1-8EC3-12604E1F3933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583612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961CBDF-F5E6-4591-B623-8694A217425F}" type="datetime'''''''1''''''''''1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BDF8D4D1-5BE3-4B0F-901D-37A7615E6C70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8801099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E5C55D5-965D-4825-87A1-CBA61F099A06}" type="datetime'''''''''18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49647904-B681-4641-9F9E-CD0540F906B0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9016999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4CB0928-DB31-4253-BC91-812AEA66C4D9}" type="datetime'''''''''''''''''''''''''''''''''''''''''''2''''''5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F2D90949-CB7A-4E25-AD4E-4B9D8FA28314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92329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BD9AA6F-4D73-48F4-8926-FE51542861B2}" type="datetime'''''''''''''''''''''''''0''''''''''1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05A776A5-E324-42F7-9A41-104DC27B0F51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448799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232026C-4EF9-4818-875A-EE3E9CEEA6A9}" type="datetime'''''0''''''''''8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75CD2F2F-B0EB-4573-9FA9-0BB81C4D6505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9666287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1D56007-0630-4AA8-B42F-EF205F6039CD}" type="datetime'''''1''''''''''''''''''''''''''5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819F44F2-B353-4455-8BD6-A5ABF5F93664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9882187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A2DA79F-702E-4643-A394-8BA56B995211}" type="datetime'''''''''''''''''2''''''''''''''''''''''''''''''''''2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8FDA4F3A-11B4-49F3-AFB5-1567CD65B9AC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10098087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3469829-FBAB-4EB3-9A0D-60C964F6F8C4}" type="datetime'''2''''''''''''''''''9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9A738672-89B9-4EEF-A17E-00594F314DBA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313987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26FDDA2-FBE4-4DDF-9D06-79581F1495A4}" type="datetime'''''''''''''''''''0''''''''''''''''''''''5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7D1227B3-BD6D-4BAE-B5D4-8F6C3704CD62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53147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B75717A-7584-445A-8874-1670534DB9A7}" type="datetime'''''''''''''''1''''''''''''''''''''''''''''''2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2A7E0C71-C423-41F5-B222-546561D21DD8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074737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ADB6B23-D553-4183-B2C8-F3CEE306F8B3}" type="datetime'''''''''''1''''''''''''''''''''9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94EBDCD0-55EB-499A-941A-012D2564AF1D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096327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5A9C2A6-25B6-491F-9325-5A3C1DD8F7FB}" type="datetime'''''''''''''''''''''''''''''''''''''''''''''''''''''2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976F1DAA-AB57-4DB5-9EAC-6AA2B46C2587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1179174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1BCC6F-9976-4CDC-8ACD-163725740E0B}" type="datetime'''0''''''''''''''5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243F79F9-19C9-4BA2-8E3F-2003AFBBB219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39666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37511C7-76A2-4658-A78D-A3AC5AB53013}" type="datetime'''''''''''''''''''''''''1''''2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37D0E08F-D258-4506-A101-6481436C5EE8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116125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7D3D575-8DDD-4EA1-B4E8-DB0286345236}" type="datetime'''''''''''''''''''''''1''''9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6F440CF0-2948-43D0-A936-CAF52AA8A83F}"/>
              </a:ext>
            </a:extLst>
          </p:cNvPr>
          <p:cNvSpPr/>
          <p:nvPr userDrawn="1">
            <p:custDataLst>
              <p:tags r:id="rId73"/>
            </p:custDataLst>
          </p:nvPr>
        </p:nvSpPr>
        <p:spPr bwMode="auto">
          <a:xfrm>
            <a:off x="11828463" y="1284288"/>
            <a:ext cx="18573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8C32BEC-4D6F-4B77-BE86-CCA5FB46F8EF}" type="datetime'''''''''''''''2''''''''''6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255322D-979D-4DB3-B601-052569ACD141}"/>
              </a:ext>
            </a:extLst>
          </p:cNvPr>
          <p:cNvCxnSpPr/>
          <p:nvPr userDrawn="1">
            <p:custDataLst>
              <p:tags r:id="rId74"/>
            </p:custDataLst>
          </p:nvPr>
        </p:nvCxnSpPr>
        <p:spPr bwMode="auto">
          <a:xfrm>
            <a:off x="1019175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1374126-7876-4105-9DF0-D8B23957F704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63896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26402EB-4592-4A4E-901D-E7FE0AAC92A4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923290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28416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A418C88-9CEA-446D-A050-071FDA7B3D91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110569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73501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35464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26193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1662113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E496827-4297-4810-BD60-0ECAF81F3991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45053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BA7121E-DA56-4F69-8C9F-92143AB1C318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54625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FDD56B-4AC7-4FCE-8312-7BA9F5EB8F41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73485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703E72F-5383-4ADE-BE9A-3E5DAA750F40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82756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12014200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284163" y="572770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211772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D7CC964-458D-40DA-960C-745D0D3B2972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3562350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428307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4B9DB3E-5421-4974-B8DD-CA09B2D6625A}"/>
              </a:ext>
            </a:extLst>
          </p:cNvPr>
          <p:cNvCxnSpPr/>
          <p:nvPr userDrawn="1">
            <p:custDataLst>
              <p:tags r:id="rId92"/>
            </p:custDataLst>
          </p:nvPr>
        </p:nvCxnSpPr>
        <p:spPr bwMode="auto">
          <a:xfrm>
            <a:off x="284163" y="2840038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93"/>
            </p:custDataLst>
          </p:nvPr>
        </p:nvCxnSpPr>
        <p:spPr bwMode="auto">
          <a:xfrm>
            <a:off x="284163" y="500538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4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95"/>
            </p:custDataLst>
          </p:nvPr>
        </p:nvCxnSpPr>
        <p:spPr bwMode="auto">
          <a:xfrm>
            <a:off x="284163" y="13954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96"/>
            </p:custDataLst>
          </p:nvPr>
        </p:nvSpPr>
        <p:spPr bwMode="auto">
          <a:xfrm>
            <a:off x="325438" y="1263650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97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98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3" name="Text Placeholder 4">
            <a:extLst>
              <a:ext uri="{FF2B5EF4-FFF2-40B4-BE49-F238E27FC236}">
                <a16:creationId xmlns:a16="http://schemas.microsoft.com/office/drawing/2014/main" id="{67EAB526-29E1-4165-87FC-5211E6FAF2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6200000">
            <a:off x="158289" y="1601538"/>
            <a:ext cx="702633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16" name="Text Placeholder 4">
            <a:extLst>
              <a:ext uri="{FF2B5EF4-FFF2-40B4-BE49-F238E27FC236}">
                <a16:creationId xmlns:a16="http://schemas.microsoft.com/office/drawing/2014/main" id="{4149C542-52AF-452B-B7D2-2C5F0049E6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 rot="16200000">
            <a:off x="158289" y="2314010"/>
            <a:ext cx="702633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17" name="Text Placeholder 4">
            <a:extLst>
              <a:ext uri="{FF2B5EF4-FFF2-40B4-BE49-F238E27FC236}">
                <a16:creationId xmlns:a16="http://schemas.microsoft.com/office/drawing/2014/main" id="{347479F1-9F9B-4A45-8571-59B45F4A3B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 rot="16200000">
            <a:off x="158289" y="3044575"/>
            <a:ext cx="702633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18" name="Text Placeholder 4">
            <a:extLst>
              <a:ext uri="{FF2B5EF4-FFF2-40B4-BE49-F238E27FC236}">
                <a16:creationId xmlns:a16="http://schemas.microsoft.com/office/drawing/2014/main" id="{2897F0B5-B6DE-4734-BAB6-8190BA6BBF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16200000">
            <a:off x="158289" y="3757047"/>
            <a:ext cx="702633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BAD4172-669C-4B58-AA8C-281BFAE943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 rot="16200000">
            <a:off x="158289" y="4489201"/>
            <a:ext cx="702633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49" name="Text Placeholder 4">
            <a:extLst>
              <a:ext uri="{FF2B5EF4-FFF2-40B4-BE49-F238E27FC236}">
                <a16:creationId xmlns:a16="http://schemas.microsoft.com/office/drawing/2014/main" id="{CFB27D26-9DA0-4228-9F00-7D580B46974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158289" y="5219766"/>
            <a:ext cx="702633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50" name="Text Placeholder 4">
            <a:extLst>
              <a:ext uri="{FF2B5EF4-FFF2-40B4-BE49-F238E27FC236}">
                <a16:creationId xmlns:a16="http://schemas.microsoft.com/office/drawing/2014/main" id="{F65BA680-D6B0-4E7B-8654-85A0DEF530B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rot="16200000">
            <a:off x="158289" y="5932238"/>
            <a:ext cx="702633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1856463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3_7 Lane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3" name="think-cell Slide" r:id="rId100" imgW="360" imgH="360" progId="TCLayout.ActiveDocument.1">
                  <p:embed/>
                </p:oleObj>
              </mc:Choice>
              <mc:Fallback>
                <p:oleObj name="think-cell Slide" r:id="rId100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8195978-4248-4910-9A75-04356CE1721E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3562350"/>
            <a:ext cx="11730037" cy="7207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5005388"/>
            <a:ext cx="11730037" cy="72231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284163" y="2117725"/>
            <a:ext cx="11730037" cy="72231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E9770D5-5CD9-4C43-A300-172B097628D1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735014" y="982663"/>
            <a:ext cx="284321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BF0DFD-E272-4E7E-933A-82534E2730F3}" type="datetime'''''''''2''''''''''''''''''''0''''''''''''2''2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F19F00BC-C3D0-425B-9305-BFB5E3F44FD8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3578225" y="982663"/>
            <a:ext cx="8435975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5C5A9FF-443C-4347-A5DF-5BAF201990E7}" type="datetime'''''''''2''''0''''''2''''''''''''''''''''''''''''3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5FD8E58F-9384-4864-B600-911FFD1F2EAE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735013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9A5DDA7-751F-4572-9321-69B3464EADAF}" type="datetime'''''''O''''''''''''''''''''''c''''''t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96E02733-32A0-42C7-A960-E61855DACD6C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169227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D0E16CD-AE71-4C2A-A99E-90EE308FF9DA}" type="datetime'''''''''N''''''''o''''''''''''''''''''''''''''''''v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022FA062-BA77-4218-A110-D33A20B5D20B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26193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6748234-6A67-4F2A-9C8A-D4FBF17AA616}" type="datetime'D''''''''e''''''''c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0CCB2A32-63FB-4829-AE07-E39AB3B8229D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3578225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9D22F4E-B68A-4E55-8389-0509CBCDA4D8}" type="datetime'''''''''''J''a''''''''''''''''''n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E1D76A5B-93E5-4703-BB9E-E2B63D7E09F5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4535488" y="1133475"/>
            <a:ext cx="86518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9DDB750-1316-4233-A647-AD9E6650AFCC}" type="datetime'''''''Fe''b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EC03AEA7-9937-489D-9938-EA049CB240DB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54006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9679E17-7D85-413C-A506-DE092D1C3ADC}" type="datetime'''M''''a''''''r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E75235BF-ABFC-41D3-829A-EDD0AF436039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635952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CA8E6D1-BEFE-4B40-BD7E-3F8AAF31690E}" type="datetime'''''''''''''''''''A''''''''''''''p''''''''''r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D891ACC3-7DB6-4282-9599-63990AE3F53B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7286625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EFC5966-259E-408B-BA9B-178E4C24AEDD}" type="datetime'''''''''''''''''''''''M''''''''''a''''y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A8B1D8F5-861C-4BE9-AF37-557ACAA38BF0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824388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6695847-0F31-4FD9-95D3-1E8F699063CF}" type="datetime'''''''''J''''''''''''''''''u''''''''''''''''n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051ECB85-0D42-4928-8DDC-EF071A927DFA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9170988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07B9C15-84E1-4737-8C4F-571F949362D7}" type="datetime'''''J''''''''''''''''''u''''''''''''''l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EA25B488-6359-4DB1-BC01-5FE05DCA8887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10129838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AAFE7A3-7E42-4318-B685-03A01C811467}" type="datetime'''''''''''''''''''''A''''''''u''''''g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5F18D533-6EA0-496C-82AA-3222566C344D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11087100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7FF140A-9D43-4F4C-BA40-39B5B628D95C}" type="datetime'''S''''''''''''''''''''e''''''p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A55D728A-3502-4C9D-B34D-A6A3DA089527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735013" y="1284288"/>
            <a:ext cx="301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A1324918-1BBF-44CB-97AA-C8FA1C9B2D2E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7651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1652EC4-7A2E-45D8-8004-2D5DFE0889A5}" type="datetime'0''''''''''''2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94046104-3531-4A2D-9460-890FEAC57AFF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9826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3A0A18D-BBFF-4D07-8174-504F031A281D}" type="datetime'0''''''''''''''''''''''''''9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2B94D7B0-C602-4F04-A8A1-E99DD18E12FE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1985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909E432-FEEF-4BBA-BDC3-502A3D5A3F8C}" type="datetime'1''''''''''''''''''''''''''''''''''''6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422DD973-164B-48CB-A4CC-5ABCA2BAC367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4144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BC54AE0-5A14-47DD-98FF-9228E70FC0E4}" type="datetime'''''''2''''3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0C7D3BED-D67C-403C-A0B7-BD07224EEBC3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16319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ABFEB5-550E-460E-BC89-D07C6B040CE1}" type="datetime'''3''''''''''''''''''''''0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716A01D5-8A46-4526-B245-695F86B48562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18478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CC99A3A-FA4C-48AC-997C-3E0F68FD8848}" type="datetime'''''''''''''''''06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984AB430-316D-4E41-827F-14C9D58ABC87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20637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113FA66-6D0B-4CC6-A4FB-BA20D41BC3C4}" type="datetime'''''''1''''''''''''''3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DE95A5F1-078D-4489-882E-DBFECAEE8976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2796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1B0E375-4F67-40EC-B123-698F0151E795}" type="datetime'''''2''''''''0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0FD6CD32-62FB-4610-8722-3605D5D8F179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4971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6649AD5-E1C1-4007-99D9-312F3BE9E567}" type="datetime'''''''''2''''''''''''''''''''''''''''''7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372D1318-3E88-49B8-8C0E-05F370A05B71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27130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1600F6B-FF7D-4EBE-9CF4-7FAE8D51E759}" type="datetime'''''''''''''''''''''''''''''''''''''0''''''''''''''4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9E367C41-C755-4CF1-8EC3-12604E1F3933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29289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961CBDF-F5E6-4591-B623-8694A217425F}" type="datetime'''''''1''''''''''1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BDF8D4D1-5BE3-4B0F-901D-37A7615E6C70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31448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E5C55D5-965D-4825-87A1-CBA61F099A06}" type="datetime'''''''''18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49647904-B681-4641-9F9E-CD0540F906B0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3623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4CB0928-DB31-4253-BC91-812AEA66C4D9}" type="datetime'''''''''''''''''''''''''''''''''''''''''''2''''''5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F2D90949-CB7A-4E25-AD4E-4B9D8FA28314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5782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BD9AA6F-4D73-48F4-8926-FE51542861B2}" type="datetime'''''''''''''''''''''''''0''''''''''1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05A776A5-E324-42F7-9A41-104DC27B0F51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37941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232026C-4EF9-4818-875A-EE3E9CEEA6A9}" type="datetime'''''0''''''''''8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75CD2F2F-B0EB-4573-9FA9-0BB81C4D6505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40100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1D56007-0630-4AA8-B42F-EF205F6039CD}" type="datetime'''''1''''''''''''''''''''''''''5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819F44F2-B353-4455-8BD6-A5ABF5F93664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2275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A2DA79F-702E-4643-A394-8BA56B995211}" type="datetime'''''''''''''''''2''''''''''''''''''''''''''''''''''2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8FDA4F3A-11B4-49F3-AFB5-1567CD65B9AC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4434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3469829-FBAB-4EB3-9A0D-60C964F6F8C4}" type="datetime'''2''''''''''''''''''9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9A738672-89B9-4EEF-A17E-00594F314DBA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46593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26FDDA2-FBE4-4DDF-9D06-79581F1495A4}" type="datetime'''''''''''''''''''0''''''''''''''''''''''5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7D1227B3-BD6D-4BAE-B5D4-8F6C3704CD62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48752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B75717A-7584-445A-8874-1670534DB9A7}" type="datetime'''''''''''''''1''''''''''''''''''''''''''''''2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2A7E0C71-C423-41F5-B222-546561D21DD8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50927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ADB6B23-D553-4183-B2C8-F3CEE306F8B3}" type="datetime'''''''''''1''''''''''''''''''''9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94EBDCD0-55EB-499A-941A-012D2564AF1D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3086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5A9C2A6-25B6-491F-9325-5A3C1DD8F7FB}" type="datetime'''''''''''''''''''''''''''''''''''''''''''''''''''''2''''''6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976F1DAA-AB57-4DB5-9EAC-6AA2B46C2587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5245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1BCC6F-9976-4CDC-8ACD-163725740E0B}" type="datetime'''0''''''''''''''5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243F79F9-19C9-4BA2-8E3F-2003AFBBB219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57404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37511C7-76A2-4658-A78D-A3AC5AB53013}" type="datetime'''''''''''''''''''''''''1''''2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37D0E08F-D258-4506-A101-6481436C5EE8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59578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7D3D575-8DDD-4EA1-B4E8-DB0286345236}" type="datetime'''''''''''''''''''''''1''''9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6F440CF0-2948-43D0-A936-CAF52AA8A83F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61737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8C32BEC-4D6F-4B77-BE86-CCA5FB46F8EF}" type="datetime'''''''''''''''2''''''''''6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2662AECA-D0D0-40F3-81DC-A8494F71DE71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3896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3464562-659C-4E86-9738-C59DA78D67AD}" type="datetime'''''''0''''''''2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F4FDB470-9857-43D9-88E9-30D9896EDAA8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66055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B57D7D5-419E-4971-91C6-DFC9BA17670B}" type="datetime'''''''''''0''''''''''''''''''''''''''''''''''''''''''9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23335639-B654-4EFF-B30B-A46C62DA9B82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68230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CF0E282-6ED2-4D7B-A646-450A01A2F29B}" type="datetime'''''''''''''1''6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4C5EA437-F1F4-4D5A-9F46-EBAD673E3E27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70389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A675EF4-2E2C-4869-8CD6-2B720A40E3D8}" type="datetime'''''''2''''''''''''''''3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A2DD3598-C88E-4CB3-8D95-D2D31EDF4F0E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2548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CC4338C-2135-4BB9-8614-A84E655EFC82}" type="datetime'3''''''''''''''''''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C5C644D3-1C92-456A-97CA-00E85F629D36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4723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9FED000-A841-4F47-AAF2-ACC1D56289FD}" type="datetime'''''''''''''''''''''''''0''''''''''7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B01E33C5-5FD6-4260-B5B2-DEC9D0D5B34E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76882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778586A-44B3-4696-AC0A-FD9B6B3B2497}" type="datetime'''''''1''''''''''''''''''''''''''''''''''''''''''''''4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27F57E57-26FC-459F-A24A-7B1586271768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79041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396DE90-FB41-485B-985C-2748348DCA66}" type="datetime'''''''''''''''''''''''''''''''''''''''''''''''''2''''''''1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0ED124F6-F5BB-4E54-8089-6AA3D3728A87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81200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26A5605-AD75-41B2-99F3-811ACD9A1E93}" type="datetime'''''''''''''''''28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9CB59A53-62F1-40D4-A5AC-4D6F7A9A70FA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3375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BD00EF-0E6C-4D33-A41D-65CFB90CAA45}" type="datetime'''''''''0''''''4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6D75760B-2546-41D4-9AB7-32979DB33C99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5534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D4D65D2-D990-44D7-B646-5E47F050B01B}" type="datetime'1''''''1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36144F6D-F18B-4F58-B18C-2DBC05FB25C1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87693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2F8A55C-74F7-4321-BF61-244A8DC925D2}" type="datetime'''''''''''''''''''''''''''''''''18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D79D66CE-40E4-41C0-9B94-17097AC92C7A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89852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45400D5-05B2-49B6-8F0D-E99F5499769F}" type="datetime'2''''''''''''''''''''''''''''''''5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6CEBD94C-D039-45B6-A24C-8D3E5CC0883D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92027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FFBF8E2-132B-478F-ADAF-4F3A796D62F3}" type="datetime'''''''''''''''''''''''''0''''''''''''''''''''''2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0D259A25-F5BA-4E59-9600-5335CA8A7A0F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4186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982EBDA-C9E4-4827-865A-2FEB856A1F32}" type="datetime'''''''''''''''''''''''''''''''''''''''''''''''''''09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852634B9-C842-49AE-94F0-30FDF5734514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96345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14F8E7C-C1BC-4D73-88DE-FFEFC92CC69A}" type="datetime'''''''''''1''''''''''''6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A86954AD-4974-42A3-A3A9-B912403593E8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98504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DBA888E-7066-40AC-9D84-005D1FA2AA88}" type="datetime'2''''''''''''''3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244860F8-F90A-44F1-927C-C7785DC13FB3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100679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FE20AD1-8C75-4D04-B1C4-07A29598AB32}" type="datetime'''''''''''''3''''''''''''''''''''''''''0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E62B792D-8B75-4EBC-98D7-CC7FE04157CE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2838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873FE59-66C2-47D8-B25D-79BD1F900B72}" type="datetime'''0''''''''''6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646EE518-6CF8-445C-BA67-4A1E84B28715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4997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BB80CF4-4FA9-44D1-893B-4124CEEBAB29}" type="datetime'''''''''''''''1''''''''''''3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D9623870-2DD0-4DD8-AC58-11DF157F08EA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07156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9F7548B-4C47-4835-9D59-38E046EE2F73}" type="datetime'''''2''''''''''''''''''0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47C4DD9E-0BE5-4F28-8BB7-07081680D45F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09331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26E960E-585A-4940-9209-D396573589D9}" type="datetime'''''''''''''''''''''''''2''7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14873207-425A-4DF3-A338-76313F36A6D0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11490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8A6136-8580-4834-9FBC-8BEB8F5BED58}" type="datetime'0''''''''''3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51EE6A1B-059E-4AF9-8B66-543E53066B86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3649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68B7EBB-44D5-49D2-800A-F0ABF7E28212}" type="datetime'''''''''''1''''''''''''''''0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456BC207-BE0E-418B-BD69-98BCF55A581C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115808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F5DDA4A-2AB9-4E15-8120-EFBA8AF6CA97}" type="datetime'''''''''1''''''''''''''''''''7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EB678699-DC6A-4F03-9B20-A753247DD6FE}"/>
              </a:ext>
            </a:extLst>
          </p:cNvPr>
          <p:cNvSpPr/>
          <p:nvPr userDrawn="1">
            <p:custDataLst>
              <p:tags r:id="rId73"/>
            </p:custDataLst>
          </p:nvPr>
        </p:nvSpPr>
        <p:spPr bwMode="auto">
          <a:xfrm>
            <a:off x="117983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0A558C9-E2F7-4224-8449-432C6D88B102}" type="datetime'''2''''''''''''''''''''4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74"/>
            </p:custDataLst>
          </p:nvPr>
        </p:nvCxnSpPr>
        <p:spPr bwMode="auto">
          <a:xfrm>
            <a:off x="28416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12014200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BA7121E-DA56-4F69-8C9F-92143AB1C318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54006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E496827-4297-4810-BD60-0ECAF81F3991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45354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73501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35782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3E9AA37-DE02-40F6-9291-ABAEE3EAF4CA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1108710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26193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16922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2B19214-E30C-4C75-9EA9-D09CFBF3A3D4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72866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37BFE5F-9FE1-4CB7-8E55-11AF27182717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101298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55222AB-88B0-4AA8-B69B-6E7C3CAC549C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63595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EAC81B3-CFB2-4E4B-BE81-6AAB9B36F643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82438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5252808-4A56-48E8-BE79-5F4857BC1E1A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91709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284163" y="500538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4B9DB3E-5421-4974-B8DD-CA09B2D6625A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2840038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572770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D7CC964-458D-40DA-960C-745D0D3B2972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3562350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92"/>
            </p:custDataLst>
          </p:nvPr>
        </p:nvCxnSpPr>
        <p:spPr bwMode="auto">
          <a:xfrm>
            <a:off x="284163" y="211772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93"/>
            </p:custDataLst>
          </p:nvPr>
        </p:nvCxnSpPr>
        <p:spPr bwMode="auto">
          <a:xfrm>
            <a:off x="284163" y="428307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4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95"/>
            </p:custDataLst>
          </p:nvPr>
        </p:nvCxnSpPr>
        <p:spPr bwMode="auto">
          <a:xfrm>
            <a:off x="284163" y="13954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96"/>
            </p:custDataLst>
          </p:nvPr>
        </p:nvSpPr>
        <p:spPr bwMode="auto">
          <a:xfrm>
            <a:off x="325438" y="1263650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97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98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3" name="Text Placeholder 4">
            <a:extLst>
              <a:ext uri="{FF2B5EF4-FFF2-40B4-BE49-F238E27FC236}">
                <a16:creationId xmlns:a16="http://schemas.microsoft.com/office/drawing/2014/main" id="{67EAB526-29E1-4165-87FC-5211E6FAF2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6200000">
            <a:off x="158289" y="1601538"/>
            <a:ext cx="702633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16" name="Text Placeholder 4">
            <a:extLst>
              <a:ext uri="{FF2B5EF4-FFF2-40B4-BE49-F238E27FC236}">
                <a16:creationId xmlns:a16="http://schemas.microsoft.com/office/drawing/2014/main" id="{4149C542-52AF-452B-B7D2-2C5F0049E6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 rot="16200000">
            <a:off x="158289" y="2314010"/>
            <a:ext cx="702633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17" name="Text Placeholder 4">
            <a:extLst>
              <a:ext uri="{FF2B5EF4-FFF2-40B4-BE49-F238E27FC236}">
                <a16:creationId xmlns:a16="http://schemas.microsoft.com/office/drawing/2014/main" id="{347479F1-9F9B-4A45-8571-59B45F4A3B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 rot="16200000">
            <a:off x="158289" y="3044575"/>
            <a:ext cx="702633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18" name="Text Placeholder 4">
            <a:extLst>
              <a:ext uri="{FF2B5EF4-FFF2-40B4-BE49-F238E27FC236}">
                <a16:creationId xmlns:a16="http://schemas.microsoft.com/office/drawing/2014/main" id="{2897F0B5-B6DE-4734-BAB6-8190BA6BBF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16200000">
            <a:off x="158289" y="3757047"/>
            <a:ext cx="702633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BAD4172-669C-4B58-AA8C-281BFAE943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 rot="16200000">
            <a:off x="158289" y="4489201"/>
            <a:ext cx="702633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49" name="Text Placeholder 4">
            <a:extLst>
              <a:ext uri="{FF2B5EF4-FFF2-40B4-BE49-F238E27FC236}">
                <a16:creationId xmlns:a16="http://schemas.microsoft.com/office/drawing/2014/main" id="{CFB27D26-9DA0-4228-9F00-7D580B46974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158289" y="5219766"/>
            <a:ext cx="702633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50" name="Text Placeholder 4">
            <a:extLst>
              <a:ext uri="{FF2B5EF4-FFF2-40B4-BE49-F238E27FC236}">
                <a16:creationId xmlns:a16="http://schemas.microsoft.com/office/drawing/2014/main" id="{F65BA680-D6B0-4E7B-8654-85A0DEF530B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rot="16200000">
            <a:off x="158289" y="5932238"/>
            <a:ext cx="702633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1322016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Lane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7" name="think-cell Slide" r:id="rId102" imgW="360" imgH="360" progId="TCLayout.ActiveDocument.1">
                  <p:embed/>
                </p:oleObj>
              </mc:Choice>
              <mc:Fallback>
                <p:oleObj name="think-cell Slide" r:id="rId102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2027239"/>
            <a:ext cx="11730037" cy="6318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4554539"/>
            <a:ext cx="11730037" cy="6318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8507BD-FB74-4D5A-AE4D-36E33E253E40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284163" y="5818188"/>
            <a:ext cx="11730037" cy="6318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8195978-4248-4910-9A75-04356CE1721E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284163" y="3290889"/>
            <a:ext cx="11730037" cy="6318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E9770D5-5CD9-4C43-A300-172B097628D1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735013" y="982663"/>
            <a:ext cx="849788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BF0DFD-E272-4E7E-933A-82534E2730F3}" type="datetime'''''''''2''''''''''''''''''''0''''''''''''2''2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35F5DD1F-BAE5-44F9-B15E-3DBBDFEA1E63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232899" y="982663"/>
            <a:ext cx="278130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1AB5840-31F4-4EBB-847E-E40E512DD3ED}" type="datetime'''2''''''''''''''''''''''0''''''''2''''''''3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0F81C145-2690-4C94-8454-8AA21CEB3334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735013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E2DD7EE-F686-4C6A-B8EC-2CDC3C3599CA}" type="datetime'''''''''''''''''''A''''''''''''''''p''''''''r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BB989622-68CA-469E-B3CF-6CE2E896CF4A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1662114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52EF1F3-DC74-4B3F-B72C-7FE50606F30B}" type="datetime'''''''M''''''a''''''''''''y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427BAAC6-BA67-4FA9-ABB6-5BA526564948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261937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CDB3BBD-926C-4DA3-973F-8E1FFFD45C61}" type="datetime'''''''''''''''''''''J''''''''''''u''''''''n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0A123007-420C-40AD-8DFF-BE9525D2CD8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35464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DCC2C1-E93C-498F-9859-6879A8DC1BC0}" type="datetime'''J''''''''''''''''u''''''''''''''''''''''''''''''l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D9468733-9143-4551-AEE1-53319B2A15A3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4505326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646D00A-5FCC-4951-9F14-790646FF9DB2}" type="datetime'''''''''''''''''Au''''''''''''''g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B66C7FA8-DE76-4C1B-B1D0-C636F457C938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546258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A328468-A545-459F-AFCB-E6CD4FDE1422}" type="datetime'''''''''''''''''Se''''''''''''''''''''''''''''''''p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57248FBE-EE4E-4158-AEAA-B8CBC04E722B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6389688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6DB07C0-5D1F-4041-95C0-8CB08E2A3BE8}" type="datetime'''''''''''''''''''''O''''''''''c''''''t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C1B26F7D-6D77-4A76-8065-F5EC99A9F8B5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734853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39DD9C9-7E12-4634-BBB4-C3BF5E2D9BAA}" type="datetime'''''''''''''''''''''''''''''''''''''''''''''''''N''o''v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92CA5CA8-20D6-4BC3-B4A3-BE36F00FD2E2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8275639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2A00A40-16DC-4699-9EE1-35120DD94DA0}" type="datetime'De''c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8F553FA6-AFAB-469D-BC67-33034719645C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9232900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BEF2246-8EA5-432D-A346-82CBDA1471FB}" type="datetime'''''''''''''''J''''''''''''a''''''''''''''''n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D46E4D04-0DA7-4DC7-A78B-FBFAA5AAED7E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10191750" y="1133475"/>
            <a:ext cx="86518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570C1E2-9912-4DA0-AA83-2D1DCCE8651B}" type="datetime'''''''''''''''Fe''''''''''''''''''''''b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C160498E-06D5-4980-B557-B7FC8417F5A2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11056938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18FD95F-A27F-4304-9106-A799F574C39D}" type="datetime'''''Ma''''''''''r''''''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C353B356-4523-4EBB-8BB5-4BEE486EFDA8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735013" y="1284288"/>
            <a:ext cx="6191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5609A8C5-6F5A-4550-B22E-654B7E2101C4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7969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D8F118-CBBD-4762-817A-055703699BA9}" type="datetime'''''''''''''''''''''''''''''''''''''''''0''''''''3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A1943558-0C92-4E99-A787-BBB1C8828EFB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0128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259F03-6E18-4779-930F-251F417874E6}" type="datetime'''''1''''''''''''''''''''''''''''''''''''''''0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0CDCFC8-95BF-4577-92F4-D3D1D21F219B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2287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343E31A-C26F-475F-B860-FC899D288650}" type="datetime'''''''''''''''''1''''''''''''''''''''''''''''''7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EC14448-42E8-45BE-8DA8-EF845841B2C0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14462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0240EFC-0EBE-4EE6-B9EE-C4C9CF945042}" type="datetime'''''''''''''''''''''''''''''''''''''''''''''2''''''''''4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95C90B70-E522-40BB-808D-E77C9CED9CA5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16621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7F93BE0-24ED-4A39-9962-731338525248}" type="datetime'''''''''''''''''''0''''''''''''''''''''''''''''1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400093FB-249D-4F1E-9815-FBB2F5130F10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18780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634AEB2-ECD3-4E25-B83D-6FF7BC146DA3}" type="datetime'''''''''0''''''''''''''''''''''''''''''8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FF192964-A361-4542-8CE1-C9EF7E8185B2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0939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35717EC-5376-4304-BAC0-217532DD523A}" type="datetime'''''''''1''''''''''''''''''''5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B7FCF34C-1B18-4A4F-891A-39EBA462013A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3114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2B21F7C-B124-4E92-B6E2-DC3328677F28}" type="datetime'''''''''''''''''''''2''''''''''2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0C44E939-8B94-4731-A750-C2E3E393116D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25273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9B20D4F-E2C9-4017-9693-D1E781E4FCB4}" type="datetime'''''''''''''29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F46E74E0-4873-4A93-B09A-A7B619A27EBE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27432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DEA1314-9A91-4D14-816A-FE88681B58DF}" type="datetime'''0''5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C0D6DC35-6D76-4F8F-8256-FD78110ED1F0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29606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2DFAD3A-7041-4715-86CA-C20D966C06D0}" type="datetime'''''''''''''''''''''''1''''''''''2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3E13995B-8198-415A-9156-E015150B61B7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1765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BF7D18D-8A61-4761-AEA5-DB3A1DAFFC81}" type="datetime'''''''''''''''''''''''''''''1''''9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448A726D-607A-46CC-AA6A-FE7C8D4D2966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3924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708B8A3-74D1-447A-9328-0832107227B6}" type="datetime'''''''''''''''''''2''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12ECE431-48F4-4504-A521-88F3E41B33F2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36083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0D8ABB-9C25-409B-8FBF-7EAC8AEB9F21}" type="datetime'''''''''''''''0''3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259CDD20-6560-4A24-80A9-B2EA2AA7A9D4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38258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ABDCD07-E733-4073-9D55-D6B50AE9776B}" type="datetime'''1''''''''''''''''''''''''''''''''''''''''''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88086E06-1D2A-43FC-AC66-D79253D6C3B1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0417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67D064E-5417-42DE-BA89-6F70088F316C}" type="datetime'''''''1''''''''''''''''''''''''7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9381CBBF-CF58-43C5-B7D4-029DE12B23CB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2576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53433C-5DF8-47BF-B2C1-0A9734FC607B}" type="datetime'''''2''''''4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598338B8-9942-4BCA-85E0-7CD5F7082476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44735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A6E2814-51F6-41B0-96F4-08938D352918}" type="datetime'''3''''''''''''''''''''''''''''''''''1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0FA6320C-BA07-4C5A-8CBD-F1BEBD8A3FF2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46910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2ADDB02-FE81-48D5-8D46-6FED7C9B43C1}" type="datetime'''''''0''''''''''''''''''''''''''''''''7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2EDC2940-D008-414B-836C-4054F212C79E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49069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87D43C-8D89-451E-874B-1B2D4D7EB140}" type="datetime'''''''''''''''''''''''''1''''''''''''''''4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5F2C5A59-4DA1-4622-927D-C896505828D9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1228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20EF618-15DE-4FC8-B7BB-B912CC7D7929}" type="datetime'''''''''''''''''''''''''2''''''''''''1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ED31DD9C-DF1B-474E-9346-233C6B4AF791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3387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41CA6F-80AB-49BE-9B78-2992E2E09A5C}" type="datetime'''2''''''8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34BE8009-B7A9-4D19-BB6D-96FE8A91BA44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55562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CF15D95-E0C9-48A6-8171-0D7D0F521B6F}" type="datetime'''''''''''0''4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E5D9703D-6792-4F9C-B50F-CD7883F16810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57721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0795607-A89B-4466-B3E0-6BCDF5FFAEB9}" type="datetime'''''''''''''''''''''''''''''''''1''''''1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DFDE36A7-FF87-4D60-B3BA-AE37C3A649D7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59880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00BCEAA-41BA-4D56-8B0C-7508FE0FBBD1}" type="datetime'''''''''''''1''''''''''8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1EDF1054-4785-4323-B328-D08510366DA8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2039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C2A4701-F121-441B-86FD-5C1B402CCFDB}" type="datetime'''''''25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A06B3A40-9CF7-44BD-8477-BE884BC37568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64214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5C744BB-6A6F-40AC-8D3D-6061ED69E15B}" type="datetime'''0''''''''''2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F37212DA-15CA-440A-B674-B2EEA61C84CF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66373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30042CD-88D7-47DC-AA86-A17215B30272}" type="datetime'''''''''''''''''''''0''9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B8F3C8CE-D286-453F-B6D6-F766928296B0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68532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6EA3583-5286-4473-A987-778454FCDC1E}" type="datetime'''1''6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D41375D8-827A-416C-8B9F-5D92D7B9B9F0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0691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FE34CFB-1C9A-4681-AEB0-4D878F28DF29}" type="datetime'''''''''''''''''''''''''''''2''''''''''''''''''''''''3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CB5DAA13-59B9-42E6-B406-3533491AB9B1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2866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E499E20-827D-402F-91AE-AFFE86183EB1}" type="datetime'''''''''''''''''''''''''3''''''''0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8D11FD29-AC90-43D0-B86F-B893C47131A4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75025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DDC4406-5D6F-4883-A1D6-FC1248A1E683}" type="datetime'0''''''''''''''''''6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2873F514-684C-473A-B544-BCF487BD6BE2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77184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CEF6A49-C69E-45BD-9C38-E93ED684CF57}" type="datetime'''''''''''''''''''''''''''1''3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338576AB-76E3-43BC-B9E9-B294EC36DE1C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79359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038BFB2-58DA-4DA5-9D92-485A99C43C82}" type="datetime'''''''''''''''''''''''''''''2''''''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DF4B3063-AF92-47A0-AD40-043CB3F2FC25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1518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FF67F8F-5F0A-424C-826D-3E19C03916B5}" type="datetime'''''''''''''2''''''''''''7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3BFCD504-043A-424E-9371-C72A38045F1E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3677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D8ABD29-BEAB-4F1B-ACD1-03202E99B684}" type="datetime'''''''''''''''''''''''''0''''''''''''''''''''''''4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717E3F4C-F739-4B76-93F6-CBF7A510699B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85836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77EE4B7-ED46-45B9-A3E1-900266BB9F3C}" type="datetime'''''''''''''''''''''''''''''''''''''''''1''''1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F89CD8FE-AFD0-4003-B55E-568382FE0070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88011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067ED7E-DA71-4FBE-97BC-89BA2A4DEEE4}" type="datetime'''''''''''''''''''1''''''''''8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41177420-EAF0-4014-B4FC-2257B3E544A0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90170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CD15230-7FC3-4F67-BD7A-A4DA4078C56F}" type="datetime'''''''''''''''''25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53D41A30-188A-49E8-8DE9-F56889F21B8E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2329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300D19D-07D8-4F93-AE8F-06E752CF2535}" type="datetime'''''0''''''''''''''''''''''1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89C91D41-B8EB-49BE-B4A7-955C44DFCB7C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94488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BC0D312-4212-4AC6-A1C5-FDB27ECC1B2D}" type="datetime'''''''''''''''''''''''''08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CA10DBFC-289E-4DE1-8B31-899F33B41403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96662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D077050-C2A7-4F66-A38B-1C8E87C60BD5}" type="datetime'''''''''''''''''''''''''''''''1''''''''''5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3ADA6D68-3588-465F-BA5F-9F769BFC6B46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98821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343BA56-1D0A-4646-B0DE-ED5643636AAC}" type="datetime'''''''''''''''''''''''''''''2''''''''''2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7B132E99-45FD-44E5-8931-75DB0C08659F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0980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074A97D-BCC0-49DB-8DD4-1CE93C79F5B8}" type="datetime'''''2''''''''''''''''''''''''''''''9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8BA20259-29D7-49A8-A5A1-D3403F0B0FB4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3139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5E2BF6D-A197-4912-BED1-9511E06AAD5B}" type="datetime'''''''''''''''''''''''''''''''''0''''''''''''''''5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0E0ECD2E-4467-4857-8170-9869CFF5AA5E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05314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59C1402-59D3-41BC-817D-4E392566643A}" type="datetime'''''''''''''''''''''''''''1''''''''''''''''''''''''2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C57C005D-2849-416F-8B4D-693C0A20AABD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07473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2D31FBB-E81F-4A3F-A10C-DF0E3855EED9}" type="datetime'1''''''''9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0888BAF9-6870-44B8-B23B-FB2C4BECB595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09632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F2ABB1A-7B7D-45F5-ACE8-907D57EC4568}" type="datetime'''2''''''''''''''''''6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80C6676C-4261-4BDA-9BAF-1A02BBE97426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1791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D05089C-04E7-4934-AA49-65B8CFABD8B2}" type="datetime'''0''''''''''''''''''''''''''5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62325306-569A-42E3-B30E-59F36EA7A775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113966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8503B55-1E7D-42FC-A8EB-4AB775F73BEA}" type="datetime'''''''''''''''''''1''2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80998A3D-7A28-431F-A70E-07DD72949D46}"/>
              </a:ext>
            </a:extLst>
          </p:cNvPr>
          <p:cNvSpPr/>
          <p:nvPr userDrawn="1">
            <p:custDataLst>
              <p:tags r:id="rId73"/>
            </p:custDataLst>
          </p:nvPr>
        </p:nvSpPr>
        <p:spPr bwMode="auto">
          <a:xfrm>
            <a:off x="116125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7C35C4D-9AEF-437A-B220-0D33B7148CA3}" type="datetime'''''''''''''''''''1''''''''''''''''''9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91ABD14D-DE77-4F24-8F42-D6DC49D1FBE5}"/>
              </a:ext>
            </a:extLst>
          </p:cNvPr>
          <p:cNvSpPr/>
          <p:nvPr userDrawn="1">
            <p:custDataLst>
              <p:tags r:id="rId74"/>
            </p:custDataLst>
          </p:nvPr>
        </p:nvSpPr>
        <p:spPr bwMode="auto">
          <a:xfrm>
            <a:off x="11828463" y="1284288"/>
            <a:ext cx="18573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9F1996B-8172-4464-9BD9-FB7BE10225F6}" type="datetime'''''''''''''''''''''''''2''''''''''''''6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CC16005-D516-4547-8A86-C8FA0D50A810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1019175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28416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12014200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73501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35464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148CFB9-6DD8-44E6-A98B-4BB55F68DC14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45053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514B4DE-0C87-4967-979A-FFD8A0B528D5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54625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459ADEE-9AB0-400F-8136-62C2EE2C3B81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63896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5C2CF95-0378-48E3-83FA-D425519FFD2C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73485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FB5DD63-97F2-42FD-9609-6E80C3DD01B3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110569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161F43C-83DC-41C2-B23C-506A164219BC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923290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1662113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26193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A4A2041-EF6E-4469-9660-F6BD334A1B68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82756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D7CC964-458D-40DA-960C-745D0D3B2972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3290888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4B9DB3E-5421-4974-B8DD-CA09B2D6625A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2659063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518636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CC8AC96-2027-4A51-8557-F6B5370F0BDA}"/>
              </a:ext>
            </a:extLst>
          </p:cNvPr>
          <p:cNvCxnSpPr/>
          <p:nvPr userDrawn="1">
            <p:custDataLst>
              <p:tags r:id="rId92"/>
            </p:custDataLst>
          </p:nvPr>
        </p:nvCxnSpPr>
        <p:spPr bwMode="auto">
          <a:xfrm>
            <a:off x="284163" y="5818188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93"/>
            </p:custDataLst>
          </p:nvPr>
        </p:nvCxnSpPr>
        <p:spPr bwMode="auto">
          <a:xfrm>
            <a:off x="284163" y="202723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94"/>
            </p:custDataLst>
          </p:nvPr>
        </p:nvCxnSpPr>
        <p:spPr bwMode="auto">
          <a:xfrm>
            <a:off x="284163" y="455453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95"/>
            </p:custDataLst>
          </p:nvPr>
        </p:nvCxnSpPr>
        <p:spPr bwMode="auto">
          <a:xfrm>
            <a:off x="284163" y="392271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6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97"/>
            </p:custDataLst>
          </p:nvPr>
        </p:nvCxnSpPr>
        <p:spPr bwMode="auto">
          <a:xfrm>
            <a:off x="284163" y="13954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98"/>
            </p:custDataLst>
          </p:nvPr>
        </p:nvSpPr>
        <p:spPr bwMode="auto">
          <a:xfrm>
            <a:off x="325438" y="1263650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99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100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3" name="Text Placeholder 4">
            <a:extLst>
              <a:ext uri="{FF2B5EF4-FFF2-40B4-BE49-F238E27FC236}">
                <a16:creationId xmlns:a16="http://schemas.microsoft.com/office/drawing/2014/main" id="{67EAB526-29E1-4165-87FC-5211E6FAF2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6200000">
            <a:off x="219261" y="1515158"/>
            <a:ext cx="58068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0" name="Text Placeholder 4">
            <a:extLst>
              <a:ext uri="{FF2B5EF4-FFF2-40B4-BE49-F238E27FC236}">
                <a16:creationId xmlns:a16="http://schemas.microsoft.com/office/drawing/2014/main" id="{32353348-4333-4D28-AB20-CEC345467D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 rot="16200000">
            <a:off x="219261" y="2143657"/>
            <a:ext cx="58068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2B952BBE-03D0-45EA-BB1B-6C2027C300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 rot="16200000">
            <a:off x="219261" y="2780884"/>
            <a:ext cx="58068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D17FE071-6A43-451A-A3CC-B74AA7AD6E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16200000">
            <a:off x="219261" y="3409383"/>
            <a:ext cx="58068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54ED0DC0-1EC3-4338-80C7-DDB2F97E12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 rot="16200000">
            <a:off x="219261" y="4037056"/>
            <a:ext cx="58068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51" name="Text Placeholder 4">
            <a:extLst>
              <a:ext uri="{FF2B5EF4-FFF2-40B4-BE49-F238E27FC236}">
                <a16:creationId xmlns:a16="http://schemas.microsoft.com/office/drawing/2014/main" id="{FCD70E19-EECF-496B-9A6D-E517C59AB3D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219261" y="4665555"/>
            <a:ext cx="58068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52" name="Text Placeholder 4">
            <a:extLst>
              <a:ext uri="{FF2B5EF4-FFF2-40B4-BE49-F238E27FC236}">
                <a16:creationId xmlns:a16="http://schemas.microsoft.com/office/drawing/2014/main" id="{F55DCF24-4DEC-4290-BDAD-A339242C2EF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rot="16200000">
            <a:off x="219261" y="5302782"/>
            <a:ext cx="58068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68" name="Text Placeholder 4">
            <a:extLst>
              <a:ext uri="{FF2B5EF4-FFF2-40B4-BE49-F238E27FC236}">
                <a16:creationId xmlns:a16="http://schemas.microsoft.com/office/drawing/2014/main" id="{02F6309D-1791-4B82-B0A6-F5BA786EBC7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6200000">
            <a:off x="219261" y="5931281"/>
            <a:ext cx="58068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823162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3_8 Lane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1" name="think-cell Slide" r:id="rId102" imgW="360" imgH="360" progId="TCLayout.ActiveDocument.1">
                  <p:embed/>
                </p:oleObj>
              </mc:Choice>
              <mc:Fallback>
                <p:oleObj name="think-cell Slide" r:id="rId102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8507BD-FB74-4D5A-AE4D-36E33E253E40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5818188"/>
            <a:ext cx="11730037" cy="6318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8195978-4248-4910-9A75-04356CE1721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3290889"/>
            <a:ext cx="11730037" cy="6318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284163" y="2027239"/>
            <a:ext cx="11730037" cy="6318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284163" y="4554539"/>
            <a:ext cx="11730037" cy="6318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E9770D5-5CD9-4C43-A300-172B097628D1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735014" y="982663"/>
            <a:ext cx="284321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BF0DFD-E272-4E7E-933A-82534E2730F3}" type="datetime'''''''''2''''''''''''''''''''0''''''''''''2''2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35F5DD1F-BAE5-44F9-B15E-3DBBDFEA1E63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3578225" y="982663"/>
            <a:ext cx="8435975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1AB5840-31F4-4EBB-847E-E40E512DD3ED}" type="datetime'''2''''''''''''''''''''''0''''''''2''''''''3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57248FBE-EE4E-4158-AEAA-B8CBC04E722B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735013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6DB07C0-5D1F-4041-95C0-8CB08E2A3BE8}" type="datetime'''''''''''''''''''''O''''''''''c''''''t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C1B26F7D-6D77-4A76-8065-F5EC99A9F8B5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169227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39DD9C9-7E12-4634-BBB4-C3BF5E2D9BAA}" type="datetime'''''''''''''''''''''''''''''''''''''''''''''''''N''o''v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92CA5CA8-20D6-4BC3-B4A3-BE36F00FD2E2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26193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2A00A40-16DC-4699-9EE1-35120DD94DA0}" type="datetime'De''c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8F553FA6-AFAB-469D-BC67-33034719645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3578225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BEF2246-8EA5-432D-A346-82CBDA1471FB}" type="datetime'''''''''''''''J''''''''''''a''''''''''''''''n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D46E4D04-0DA7-4DC7-A78B-FBFAA5AAED7E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4535488" y="1133475"/>
            <a:ext cx="86518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570C1E2-9912-4DA0-AA83-2D1DCCE8651B}" type="datetime'''''''''''''''Fe''''''''''''''''''''''b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C160498E-06D5-4980-B557-B7FC8417F5A2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54006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18FD95F-A27F-4304-9106-A799F574C39D}" type="datetime'''''Ma''''''''''r''''''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65F5062A-0689-441F-8167-7988E52BEADE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635952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9775278-C6AB-4E3B-80BD-2DB67EAB92A2}" type="datetime'''''''''''''''''Ap''''''''''''''''''''''''''''r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8EFA0920-932E-431B-98FD-66CB75235B3F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7286625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C6D972E-7192-4602-A50B-26C3D35466BF}" type="datetime'''''''''''''''''''''''''''''''''M''''''ay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2A18FC24-1957-49CA-9C25-3640E594A431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824388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FC836FB-8B02-4D96-B3B9-D5AC2A41D0ED}" type="datetime'J''''''''''''''''''''''u''n''''''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999BAEF3-7CAF-468C-9BCE-309202502853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9170988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1B03582-9E96-4F03-B60C-DB4034578882}" type="datetime'''''''''''''''''''Ju''''''''''''''''''''''''l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69DFDD02-B8DB-4F11-9658-08F61FD59E73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10129838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4A95E58-2727-4959-9845-8D38E8C2A5F9}" type="datetime'''''''Au''''''''''''''''''''''''''''''''''''''''''g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3609F807-4683-4D4E-AA09-B55C76E5933B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11087100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300420-8718-47D1-909F-8995CD3A79C0}" type="datetime'''''''''''''S''''''''''''''''''''''ep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1EDF1054-4785-4323-B328-D08510366DA8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735013" y="1284288"/>
            <a:ext cx="301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A06B3A40-9CF7-44BD-8477-BE884BC37568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7651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5C744BB-6A6F-40AC-8D3D-6061ED69E15B}" type="datetime'''0''''''''''2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F37212DA-15CA-440A-B674-B2EEA61C84CF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9826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30042CD-88D7-47DC-AA86-A17215B30272}" type="datetime'''''''''''''''''''''0''9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B8F3C8CE-D286-453F-B6D6-F766928296B0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1985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6EA3583-5286-4473-A987-778454FCDC1E}" type="datetime'''1''6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D41375D8-827A-416C-8B9F-5D92D7B9B9F0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14144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FE34CFB-1C9A-4681-AEB0-4D878F28DF29}" type="datetime'''''''''''''''''''''''''''''2''''''''''''''''''''''''3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CB5DAA13-59B9-42E6-B406-3533491AB9B1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16319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E499E20-827D-402F-91AE-AFFE86183EB1}" type="datetime'''''''''''''''''''''''''3''''''''0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8D11FD29-AC90-43D0-B86F-B893C47131A4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18478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DDC4406-5D6F-4883-A1D6-FC1248A1E683}" type="datetime'0''''''''''''''''''6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2873F514-684C-473A-B544-BCF487BD6BE2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0637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CEF6A49-C69E-45BD-9C38-E93ED684CF57}" type="datetime'''''''''''''''''''''''''''1''3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338576AB-76E3-43BC-B9E9-B294EC36DE1C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2796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038BFB2-58DA-4DA5-9D92-485A99C43C82}" type="datetime'''''''''''''''''''''''''''''2''''''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DF4B3063-AF92-47A0-AD40-043CB3F2FC25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24971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FF67F8F-5F0A-424C-826D-3E19C03916B5}" type="datetime'''''''''''''2''''''''''''7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3BFCD504-043A-424E-9371-C72A38045F1E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27130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D8ABD29-BEAB-4F1B-ACD1-03202E99B684}" type="datetime'''''''''''''''''''''''''0''''''''''''''''''''''''4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717E3F4C-F739-4B76-93F6-CBF7A510699B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29289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77EE4B7-ED46-45B9-A3E1-900266BB9F3C}" type="datetime'''''''''''''''''''''''''''''''''''''''''1''''1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F89CD8FE-AFD0-4003-B55E-568382FE0070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1448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067ED7E-DA71-4FBE-97BC-89BA2A4DEEE4}" type="datetime'''''''''''''''''''1''''''''''8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41177420-EAF0-4014-B4FC-2257B3E544A0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3623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CD15230-7FC3-4F67-BD7A-A4DA4078C56F}" type="datetime'''''''''''''''''25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53D41A30-188A-49E8-8DE9-F56889F21B8E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35782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300D19D-07D8-4F93-AE8F-06E752CF2535}" type="datetime'''''0''''''''''''''''''''''1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89C91D41-B8EB-49BE-B4A7-955C44DFCB7C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37941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BC0D312-4212-4AC6-A1C5-FDB27ECC1B2D}" type="datetime'''''''''''''''''''''''''08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CA10DBFC-289E-4DE1-8B31-899F33B41403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0100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D077050-C2A7-4F66-A38B-1C8E87C60BD5}" type="datetime'''''''''''''''''''''''''''''''1''''''''''5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3ADA6D68-3588-465F-BA5F-9F769BFC6B46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2275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343BA56-1D0A-4646-B0DE-ED5643636AAC}" type="datetime'''''''''''''''''''''''''''''2''''''''''2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7B132E99-45FD-44E5-8931-75DB0C08659F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44434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074A97D-BCC0-49DB-8DD4-1CE93C79F5B8}" type="datetime'''''2''''''''''''''''''''''''''''''9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8BA20259-29D7-49A8-A5A1-D3403F0B0FB4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46593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5E2BF6D-A197-4912-BED1-9511E06AAD5B}" type="datetime'''''''''''''''''''''''''''''''''0''''''''''''''''5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0E0ECD2E-4467-4857-8170-9869CFF5AA5E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48752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59C1402-59D3-41BC-817D-4E392566643A}" type="datetime'''''''''''''''''''''''''''1''''''''''''''''''''''''2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C57C005D-2849-416F-8B4D-693C0A20AABD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0927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2D31FBB-E81F-4A3F-A10C-DF0E3855EED9}" type="datetime'1''''''''9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0888BAF9-6870-44B8-B23B-FB2C4BECB595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3086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F2ABB1A-7B7D-45F5-ACE8-907D57EC4568}" type="datetime'''2''''''''''''''''''6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80C6676C-4261-4BDA-9BAF-1A02BBE97426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55245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D05089C-04E7-4934-AA49-65B8CFABD8B2}" type="datetime'''0''''''''''''''''''''''''''5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62325306-569A-42E3-B30E-59F36EA7A775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57404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8503B55-1E7D-42FC-A8EB-4AB775F73BEA}" type="datetime'''''''''''''''''''1''2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80998A3D-7A28-431F-A70E-07DD72949D46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59578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7C35C4D-9AEF-437A-B220-0D33B7148CA3}" type="datetime'''''''''''''''''''1''''''''''''''''''9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91ABD14D-DE77-4F24-8F42-D6DC49D1FBE5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1737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9F1996B-8172-4464-9BD9-FB7BE10225F6}" type="datetime'''''''''''''''''''''''''2''''''''''''''6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AFEFB61E-1470-4A00-A960-D079F31156B5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63896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6D32B06-9A63-48DE-825B-05E977D48D17}" type="datetime'''''0''''''2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8A4B863E-819B-4A09-B4D4-3E2CBEB3DEA3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66055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F3E0717-5F0F-4F37-97CF-4CAE80B80929}" type="datetime'''''''''''''''''''''''''''''''''09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9A0B39C2-3E69-4770-9962-9979641F1214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68230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8C7D696-5853-418B-9CFF-55F36C63D178}" type="datetime'''''''''''''''''''''''''''''''''''''''1''6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8FC6A962-F825-4C22-B15C-3B6E5BFA363D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0389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FF84263-0FF9-4639-B7E8-18B068FFACD2}" type="datetime'''''2''''''''''''''3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B2EFBF42-B6DA-48CC-BF94-4BFB7E3AC893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2548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8477063-5AB5-445C-B046-FDE72050E456}" type="datetime'''''''''3''''''''''''''0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99EB4F19-112F-485C-9A42-4FEDE0645059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74723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8A8A96F-3DB0-4C78-9668-16CBA1507ACF}" type="datetime'''''''''''''''''''''''0''''''7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91300E23-5382-4952-B216-8D472D5B7DF5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76882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485EB4F-856D-4DEF-A112-99C48DE9425B}" type="datetime'''''''14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ACEC8C1F-765E-42B1-96FE-87E4EB8FBE52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79041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F6873F8-D797-4BEF-A0C5-4C746CE33FCA}" type="datetime'''''''''''''''''''2''''''''''1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F183F5AB-83AF-4BB1-9337-D181137F159F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1200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2BF9DF8-A966-4D67-9B75-005B04B4E5CB}" type="datetime'''''''''''''''''''''''''''''''2''''''''8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427B3D09-B734-4A48-85B6-10DD132F4D89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3375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599C67C-C5A6-4C30-AE11-9D0DA8CCDF70}" type="datetime'0''4''''''''''''''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EECA0B98-581E-47D9-9F3C-2F3F708DBE92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85534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A9CF1A4-C304-431E-BE2A-FDEB291BEE22}" type="datetime'''''1''''''''''''''''''''''''''''''''''''''''''''''1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DD97C07B-5915-45B8-A40F-7A6C232558F0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87693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5282880-4B88-4F47-8633-1049497A2848}" type="datetime'''''1''''8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8E9261F9-B37D-4AA9-940B-834A16AB273E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89852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743B278-7895-4307-8ED7-F669A30985AB}" type="datetime'2''''''''5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B9B5B883-7061-4DCF-9A20-7570F3ABE4A9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2027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D3A31C0-48E3-4C1F-BF21-ACAE229831E9}" type="datetime'''''''''''''''''''''''''''''''0''''''''''''''''2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653EEBF7-D876-4BB2-9ABA-9CB73405AAEC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94186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61F4541-08BF-4318-B499-3753D1254195}" type="datetime'''''''''''''''''0''''''''9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A604B2CF-EEFD-4C26-B8EA-AC85D60B4ACA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96345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A7BDC5D-8010-4780-A161-116FFC55ED01}" type="datetime'''''''''1''''''''''''''''''''''''''''6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A3190CC4-2273-4159-B0F1-1238DE926AE0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98504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F6B9724-D51F-42D0-8AF6-5FE854633E37}" type="datetime'2''3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5EF7BF95-EBC1-47AD-8D0A-55177B9718D2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0679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88720DB-02AA-46A6-8B84-0B813C1FF1FB}" type="datetime'''''''''''''''''''''''''''''''''3''''''''''''''0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34BDBFCB-AFCB-4431-818E-1DC3B0F3EA75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2838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78433C6-0BBD-4622-BFAC-080EE18A9886}" type="datetime'''''''''''''0''''6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A17A2A3D-71F6-4FDA-B3C7-126919758E56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04997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7F47E54-707A-4AD9-911B-39961A0F5C8B}" type="datetime'1''''''3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B886D501-3B33-48C9-AE0A-EECC6CDF22A2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07156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C19D718-DCEE-4E67-9B59-CF7DD893A0C6}" type="datetime'''''''''''''''''''''''''2''''''''''''''''''''''''0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67BE3FF8-A390-4DC7-9720-9CD05947C49A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09331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3404993-5313-4E9B-A33F-EA878990FACD}" type="datetime'''''''''''2''''''''''''7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98708214-1101-488B-A4D1-D9ED3750EDDD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1490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5F168E3-81C0-4C5D-A58C-7ABD270FD466}" type="datetime'''''''''''''''''''''''''0''''''''3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A9C14656-CA6B-4C32-9970-49DADA169535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113649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8CAFC71-8A7F-403E-B220-9D92828099C2}" type="datetime'''''''''''''''''''''''1''''''''''''''''''''''''''''0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BB4E5161-9D28-4C4B-BA0A-9B8A228B8A97}"/>
              </a:ext>
            </a:extLst>
          </p:cNvPr>
          <p:cNvSpPr/>
          <p:nvPr userDrawn="1">
            <p:custDataLst>
              <p:tags r:id="rId73"/>
            </p:custDataLst>
          </p:nvPr>
        </p:nvSpPr>
        <p:spPr bwMode="auto">
          <a:xfrm>
            <a:off x="115808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9BF638A-564B-4B93-9DCA-432965B70132}" type="datetime'''''''''''''''''''''''1''''''''''7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1DD4F979-A2FE-4868-8B70-6DB9B6BBFB6E}"/>
              </a:ext>
            </a:extLst>
          </p:cNvPr>
          <p:cNvSpPr/>
          <p:nvPr userDrawn="1">
            <p:custDataLst>
              <p:tags r:id="rId74"/>
            </p:custDataLst>
          </p:nvPr>
        </p:nvSpPr>
        <p:spPr bwMode="auto">
          <a:xfrm>
            <a:off x="117983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B92D21C-5446-44BB-8B13-64FFECECAD25}" type="datetime'''''''2''''''''''''''''''''''''''''''''''''''''''''''''4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92B3E37-429B-4929-9C0A-D3EFCCD8A0DD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82438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28416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6F78B82-0B9F-49F6-9FD9-20089707AADB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91709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6DA909B-EADD-40C2-9C34-B637D4D859C1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101298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16922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6153673-8D8A-4AEA-9FD2-D7C717A3B8B0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1108710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12014200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26193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35782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148CFB9-6DD8-44E6-A98B-4BB55F68DC14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45354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514B4DE-0C87-4967-979A-FFD8A0B528D5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54006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73501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5FE354-ADA5-4EBD-8C28-9B8BF7903B85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63595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9470C4F-2177-4CEE-9976-B3C8034E194B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72866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D7CC964-458D-40DA-960C-745D0D3B2972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3290888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4B9DB3E-5421-4974-B8DD-CA09B2D6625A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2659063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202723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CC8AC96-2027-4A51-8557-F6B5370F0BDA}"/>
              </a:ext>
            </a:extLst>
          </p:cNvPr>
          <p:cNvCxnSpPr/>
          <p:nvPr userDrawn="1">
            <p:custDataLst>
              <p:tags r:id="rId92"/>
            </p:custDataLst>
          </p:nvPr>
        </p:nvCxnSpPr>
        <p:spPr bwMode="auto">
          <a:xfrm>
            <a:off x="284163" y="5818188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93"/>
            </p:custDataLst>
          </p:nvPr>
        </p:nvCxnSpPr>
        <p:spPr bwMode="auto">
          <a:xfrm>
            <a:off x="284163" y="392271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94"/>
            </p:custDataLst>
          </p:nvPr>
        </p:nvCxnSpPr>
        <p:spPr bwMode="auto">
          <a:xfrm>
            <a:off x="284163" y="518636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95"/>
            </p:custDataLst>
          </p:nvPr>
        </p:nvCxnSpPr>
        <p:spPr bwMode="auto">
          <a:xfrm>
            <a:off x="284163" y="455453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6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97"/>
            </p:custDataLst>
          </p:nvPr>
        </p:nvCxnSpPr>
        <p:spPr bwMode="auto">
          <a:xfrm>
            <a:off x="284163" y="13954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98"/>
            </p:custDataLst>
          </p:nvPr>
        </p:nvSpPr>
        <p:spPr bwMode="auto">
          <a:xfrm>
            <a:off x="325438" y="1263650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99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100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3" name="Text Placeholder 4">
            <a:extLst>
              <a:ext uri="{FF2B5EF4-FFF2-40B4-BE49-F238E27FC236}">
                <a16:creationId xmlns:a16="http://schemas.microsoft.com/office/drawing/2014/main" id="{67EAB526-29E1-4165-87FC-5211E6FAF2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6200000">
            <a:off x="219261" y="1515158"/>
            <a:ext cx="58068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0" name="Text Placeholder 4">
            <a:extLst>
              <a:ext uri="{FF2B5EF4-FFF2-40B4-BE49-F238E27FC236}">
                <a16:creationId xmlns:a16="http://schemas.microsoft.com/office/drawing/2014/main" id="{32353348-4333-4D28-AB20-CEC345467D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 rot="16200000">
            <a:off x="219261" y="2143657"/>
            <a:ext cx="58068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2B952BBE-03D0-45EA-BB1B-6C2027C300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 rot="16200000">
            <a:off x="219261" y="2780884"/>
            <a:ext cx="58068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D17FE071-6A43-451A-A3CC-B74AA7AD6E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16200000">
            <a:off x="219261" y="3409383"/>
            <a:ext cx="58068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54ED0DC0-1EC3-4338-80C7-DDB2F97E12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 rot="16200000">
            <a:off x="219261" y="4037056"/>
            <a:ext cx="58068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51" name="Text Placeholder 4">
            <a:extLst>
              <a:ext uri="{FF2B5EF4-FFF2-40B4-BE49-F238E27FC236}">
                <a16:creationId xmlns:a16="http://schemas.microsoft.com/office/drawing/2014/main" id="{FCD70E19-EECF-496B-9A6D-E517C59AB3D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219261" y="4665555"/>
            <a:ext cx="58068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52" name="Text Placeholder 4">
            <a:extLst>
              <a:ext uri="{FF2B5EF4-FFF2-40B4-BE49-F238E27FC236}">
                <a16:creationId xmlns:a16="http://schemas.microsoft.com/office/drawing/2014/main" id="{F55DCF24-4DEC-4290-BDAD-A339242C2EF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rot="16200000">
            <a:off x="219261" y="5302782"/>
            <a:ext cx="58068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68" name="Text Placeholder 4">
            <a:extLst>
              <a:ext uri="{FF2B5EF4-FFF2-40B4-BE49-F238E27FC236}">
                <a16:creationId xmlns:a16="http://schemas.microsoft.com/office/drawing/2014/main" id="{02F6309D-1791-4B82-B0A6-F5BA786EBC7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6200000">
            <a:off x="219261" y="5931281"/>
            <a:ext cx="58068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253949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Lane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5" name="think-cell Slide" r:id="rId103" imgW="360" imgH="360" progId="TCLayout.ActiveDocument.1">
                  <p:embed/>
                </p:oleObj>
              </mc:Choice>
              <mc:Fallback>
                <p:oleObj name="think-cell Slide" r:id="rId103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4203700"/>
            <a:ext cx="11730037" cy="56038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8195978-4248-4910-9A75-04356CE1721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3079750"/>
            <a:ext cx="11730037" cy="56197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284163" y="1955800"/>
            <a:ext cx="11730037" cy="56197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8507BD-FB74-4D5A-AE4D-36E33E253E40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284163" y="5326063"/>
            <a:ext cx="11730037" cy="56197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E9770D5-5CD9-4C43-A300-172B097628D1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735013" y="982663"/>
            <a:ext cx="849788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BF0DFD-E272-4E7E-933A-82534E2730F3}" type="datetime'''''''''2''''''''''''''''''''0''''''''''''2''2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5A17A3EA-2A29-4640-B912-9708295C1EB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232899" y="982663"/>
            <a:ext cx="278130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9353BF2-202D-4DCE-B790-7F573C87E74A}" type="datetime'''''''''''''''''2''''''''''0''''''''''''''23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0F81C145-2690-4C94-8454-8AA21CEB3334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735013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E2DD7EE-F686-4C6A-B8EC-2CDC3C3599CA}" type="datetime'''''''''''''''''''A''''''''''''''''p''''''''r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BB989622-68CA-469E-B3CF-6CE2E896CF4A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1662114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52EF1F3-DC74-4B3F-B72C-7FE50606F30B}" type="datetime'''''''M''''''a''''''''''''y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427BAAC6-BA67-4FA9-ABB6-5BA526564948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261937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CDB3BBD-926C-4DA3-973F-8E1FFFD45C61}" type="datetime'''''''''''''''''''''J''''''''''''u''''''''n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0A123007-420C-40AD-8DFF-BE9525D2CD8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35464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DCC2C1-E93C-498F-9859-6879A8DC1BC0}" type="datetime'''J''''''''''''''''u''''''''''''''''''''''''''''''l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349E6BC3-C0A4-41EE-91C4-07F290C93B4C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4505326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419ABE7-96A9-4262-970F-14AA392A49D6}" type="datetime'''''''''''''A''''ug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C2CCFA1B-18C6-4118-967E-6ADE83008F8B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546258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2BD9DEF-BD88-48AF-9E0F-B2D88B7805FA}" type="datetime'''''''S''''e''''''''''''''''''''''''''''''''''''p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879F7049-E257-4868-9AEC-B251A4752071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6389688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74ECCA5-F1DE-4210-AAEC-373CF4C99864}" type="datetime'''''''''''''''O''''''''''''''''''''''''''c''''''t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FA4718E4-B3A5-4C13-B951-CFFD048986E6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734853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89F4137-72DD-4FDB-A4C2-0E878E404EC8}" type="datetime'''''''''''''N''o''''''''''''''''''v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B474FC1D-E052-4B46-B926-05AC9C8D321A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8275639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0CC3E40-564F-429C-B10A-A857BD271B00}" type="datetime'D''''''''''''''''''''''''''''e''''''''''''''c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302D440D-985E-462D-8952-337F8B9B4EE4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9232900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4DDE882-9B9B-41E7-A57B-DD925D8CD142}" type="datetime'''''''''''''J''''a''''''''n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B07876FD-BC05-43C1-9C9F-491D12164847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10191750" y="1133475"/>
            <a:ext cx="86518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490DBC5-EB00-4E1E-A93A-02C29A44F4B2}" type="datetime'''''F''''''''''''e''''b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BE0404E4-B2DD-4397-B0E7-D671ED84CAE1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11056938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7535C6A-B6BA-4213-A871-CDEB49388EDF}" type="datetime'''''''''''''''''''''''''''''''''''''''''''Ma''''''r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C353B356-4523-4EBB-8BB5-4BEE486EFDA8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735013" y="1284288"/>
            <a:ext cx="6191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5609A8C5-6F5A-4550-B22E-654B7E2101C4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7969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D8F118-CBBD-4762-817A-055703699BA9}" type="datetime'''''''''''''''''''''''''''''''''''''''''0''''''''3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A1943558-0C92-4E99-A787-BBB1C8828EFB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0128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259F03-6E18-4779-930F-251F417874E6}" type="datetime'''''1''''''''''''''''''''''''''''''''''''''''0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0CDCFC8-95BF-4577-92F4-D3D1D21F219B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2287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343E31A-C26F-475F-B860-FC899D288650}" type="datetime'''''''''''''''''1''''''''''''''''''''''''''''''7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EC14448-42E8-45BE-8DA8-EF845841B2C0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14462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0240EFC-0EBE-4EE6-B9EE-C4C9CF945042}" type="datetime'''''''''''''''''''''''''''''''''''''''''''''2''''''''''4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95C90B70-E522-40BB-808D-E77C9CED9CA5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16621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7F93BE0-24ED-4A39-9962-731338525248}" type="datetime'''''''''''''''''''0''''''''''''''''''''''''''''1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400093FB-249D-4F1E-9815-FBB2F5130F10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18780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634AEB2-ECD3-4E25-B83D-6FF7BC146DA3}" type="datetime'''''''''0''''''''''''''''''''''''''''''8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FF192964-A361-4542-8CE1-C9EF7E8185B2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0939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35717EC-5376-4304-BAC0-217532DD523A}" type="datetime'''''''''1''''''''''''''''''''5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B7FCF34C-1B18-4A4F-891A-39EBA462013A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3114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2B21F7C-B124-4E92-B6E2-DC3328677F28}" type="datetime'''''''''''''''''''''2''''''''''2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0C44E939-8B94-4731-A750-C2E3E393116D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25273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9B20D4F-E2C9-4017-9693-D1E781E4FCB4}" type="datetime'''''''''''''29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F46E74E0-4873-4A93-B09A-A7B619A27EBE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27432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DEA1314-9A91-4D14-816A-FE88681B58DF}" type="datetime'''0''5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C0D6DC35-6D76-4F8F-8256-FD78110ED1F0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29606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2DFAD3A-7041-4715-86CA-C20D966C06D0}" type="datetime'''''''''''''''''''''''1''''''''''2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3E13995B-8198-415A-9156-E015150B61B7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1765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BF7D18D-8A61-4761-AEA5-DB3A1DAFFC81}" type="datetime'''''''''''''''''''''''''''''1''''9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448A726D-607A-46CC-AA6A-FE7C8D4D2966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3924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708B8A3-74D1-447A-9328-0832107227B6}" type="datetime'''''''''''''''''''2''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12ECE431-48F4-4504-A521-88F3E41B33F2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36083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0D8ABB-9C25-409B-8FBF-7EAC8AEB9F21}" type="datetime'''''''''''''''0''3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259CDD20-6560-4A24-80A9-B2EA2AA7A9D4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38258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ABDCD07-E733-4073-9D55-D6B50AE9776B}" type="datetime'''1''''''''''''''''''''''''''''''''''''''''''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88086E06-1D2A-43FC-AC66-D79253D6C3B1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0417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67D064E-5417-42DE-BA89-6F70088F316C}" type="datetime'''''''1''''''''''''''''''''''''7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9381CBBF-CF58-43C5-B7D4-029DE12B23CB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2576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53433C-5DF8-47BF-B2C1-0A9734FC607B}" type="datetime'''''2''''''4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598338B8-9942-4BCA-85E0-7CD5F7082476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44735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8EC2408-5CC4-4DBF-A801-856B3AE16F43}" type="datetime'''''''''3''''''''''''''''''''''''1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C8424B39-77C7-47B8-94CB-72A7EFB39B72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46910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B819D77-ED2F-43E0-A010-BF9F8A87AE1F}" type="datetime'''''0''''''''''''''''''''''''''''''''7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87F994EC-6F2D-418A-B385-F634FC4CBE4F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49069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F19E893-577F-4C79-9E2E-74AEA90A8101}" type="datetime'''''1''''''4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177AD815-BEDE-4E6A-AA70-1C3AB3274739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1228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52F27EE-A409-47D0-80CD-89E098E547A9}" type="datetime'''2''''''''''''''''''''''''''''1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77DF6616-1588-449A-AE23-40A1EC4B1275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3387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34060F-7D20-4C30-A621-1C576865DFD4}" type="datetime'''''''''''''''''''''''''28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BD83A3D7-5936-4498-84AF-0CD6042E316D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55562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7EE7626-5D3C-4DA5-A9FE-667DAD966873}" type="datetime'''''''''''''''''0''''''''4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FDFF0FE0-AB82-4415-BCBB-85810BB740DF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57721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49FDED9-A279-4B41-9897-615F5396F51B}" type="datetime'''''''''''''1''''''''''''''1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EBC493A8-7E53-4F36-A03B-C9AFC0ED6F1F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59880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F00A753-B21C-4982-9599-4E6647B3C112}" type="datetime'''''1''''8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4539D3CB-7BCC-4799-8160-B80D751299E1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2039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22ABF50-4F51-4B13-91B7-746F3EEB1173}" type="datetime'''2''''''''5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248D5A86-795D-4990-95D6-B8D413A3101C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64214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ACB2F04-0E67-4E02-8CE5-8C5F021F0BF8}" type="datetime'''''0''2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FAAC9995-48A2-46AA-A799-1F75ABC16F4F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66373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51304EB-AC4C-45FC-8AD6-706FE7479F71}" type="datetime'''0''''''''''''''''''''''''''''''''''''''''''''''''''''9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CAB98990-5130-45F2-94CD-D90CF64DAC63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68532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B44CD29-4B53-4586-A0B9-6DE9038867B2}" type="datetime'''1''''6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664540BE-DD7B-4F6C-BDC1-DFAC6DBB50DA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0691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454528F-CC76-434B-873C-A03BD88C1865}" type="datetime'''2''''''''''3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06537E96-F38B-4621-9C93-EBDA2837C70C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2866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5715183-09DF-4063-85CE-2BB61DCD7E2C}" type="datetime'''''''''''''''''''''''''3''''''''0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7F79DF29-A8E7-4C88-8C7A-2A5791804041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75025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57014ED-DDEB-4257-A3EF-419A8C7D2E68}" type="datetime'''''''''''''''''''''''''0''''''6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3513C50D-6575-45F5-BE36-71D876665A40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77184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C097D90-90F2-42DA-AA56-5A2AA2A8EB9A}" type="datetime'''''''''''1''''''''''''''3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A974A9B5-7C7E-482C-9768-99F46E19430B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79359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51C4A9F-A159-49DD-AC55-D0A631310D4C}" type="datetime'''''''''''''''''''''''''''''''2''''''''0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47FF3598-7937-4C71-9102-C44CA79B014F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1518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A154B50-C246-4CAD-B19B-11FF943974C8}" type="datetime'''''''''''''''''''''2''''''''''''''''7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0DFBA05F-0BA2-471D-95C5-643E2FFA8D39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3677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EEF6A8D-5262-45D7-A1EF-1963052BF1C5}" type="datetime'''''''''''''''''''''''''0''4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02C1A07D-E79F-4FAC-B5E0-E0B15127786A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85836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08E246B-DE97-4BFD-9EFF-04692F9C201E}" type="datetime'''''''1''''''''1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473971A5-DCBA-4320-AC00-BD24F903C022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88011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DCFAD19-A85E-4600-A021-A18882143261}" type="datetime'1''''''''''''''''''''''''''''''''''''''''''''''''''''''''''8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932DC2E7-4F20-4AD1-98F3-EEA08B89EFBB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90170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BAD3D81-D6DD-4B38-AC29-1A69B4F6FAE8}" type="datetime'''2''''''''''''''''''''''5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4C85D426-9344-4554-9F09-E975C6DB798B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2329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3F78CA7-F33B-45FB-A7F2-928589037397}" type="datetime'''''''''''''''''''''''''0''1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333720FB-644E-43CF-8475-ACB89F55776C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94488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C3E25DF-0D94-4123-B52B-39F1C5891CBF}" type="datetime'0''''''''''8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EDE710F2-967B-42D6-9CFE-B4E907A816BF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96662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CC87DC-BDFA-40CE-AA37-5F2436524749}" type="datetime'''''''''''''''''''''1''''''''''''''''''''''''''''''''''5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627472A2-2A7F-4B4A-ACE5-61133EC5DC9E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98821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39EB2A0-80FE-48C6-B5AE-957621A350FF}" type="datetime'''''''''''''''''''2''''''''''''''''''''''''''''''2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47D273A0-E37C-467C-ABA0-551431AB00ED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0980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E653634-9807-4E2C-91B5-08208B38552B}" type="datetime'''''''''''''2''''''''''''''''''''''''''''''''9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6742AE0B-3A52-4B77-8A02-B742AE20B363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3139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65CBD42-6A85-40C8-B3F8-60697D0EAE09}" type="datetime'''''0''''''''''''''''''''5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D50F98B7-C215-45A5-A2B9-F2A3BB4C4D1B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05314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FF85F3D-F2C3-437E-A8DF-EB0D98949A52}" type="datetime'''''''''''''''''''''''''''''''''''''''''''''''''''1''''''''2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789842E6-2087-47A9-A8AB-6BCDC3259DC8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07473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1AF5754-DEDF-4280-90CA-69298CA23A82}" type="datetime'''''''''''''''''''''''''''''''''''''''''''1''''''9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8F3C77D3-9A7A-4585-8ACF-07F2AA34B44C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09632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E035BED-6BE5-4561-88A7-4C90800ADCCD}" type="datetime'''''''''''''''''''''''''''''''2''''''6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7725F473-B027-48C1-9C78-7279D6B94A18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1791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A2E2DFE-7161-42F1-8058-5A6D0A2A6178}" type="datetime'''''''''''''''0''''''''''''5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CA67AC63-8301-4495-BE5E-DB1F005892BC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113966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C431485-D6C2-4AA7-977E-005404F52C9E}" type="datetime'''''''1''''''''''''''''''''''''''''''''''''''''''''''''2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C1B4DA10-9994-415E-B853-DF27B13E0153}"/>
              </a:ext>
            </a:extLst>
          </p:cNvPr>
          <p:cNvSpPr/>
          <p:nvPr userDrawn="1">
            <p:custDataLst>
              <p:tags r:id="rId73"/>
            </p:custDataLst>
          </p:nvPr>
        </p:nvSpPr>
        <p:spPr bwMode="auto">
          <a:xfrm>
            <a:off x="116125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CB15717-9F3F-4F36-9737-41AF39EE7E8D}" type="datetime'''''''1''''''''''''''''''''''''''''''''''''''9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4A1D633F-3796-4D32-8912-BB7F4B7CB2F6}"/>
              </a:ext>
            </a:extLst>
          </p:cNvPr>
          <p:cNvSpPr/>
          <p:nvPr userDrawn="1">
            <p:custDataLst>
              <p:tags r:id="rId74"/>
            </p:custDataLst>
          </p:nvPr>
        </p:nvSpPr>
        <p:spPr bwMode="auto">
          <a:xfrm>
            <a:off x="11828463" y="1284288"/>
            <a:ext cx="18573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031D659-BE6F-4215-8D2C-2240669368B6}" type="datetime'''''''''''''''2''''''''''''''''''''''6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35464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D144DC7-CE7C-4A73-90E2-D2CC47845C3A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82756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26193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1662113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51B0BC1-D564-4D48-B60B-1FE8697E89BB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45053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EF4813A-D85F-4104-911B-32E84F0788A9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54625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73501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422696D-F578-4D96-8AB9-926EB0291989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63896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3B70C2-AC5C-476C-BE27-F9ABF41D1600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73485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3F55569-F0C1-467B-A8B9-F58A4C79DEF4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923290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BD0671F-55A3-4131-A900-95ABD79CBBFC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1019175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28416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12014200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4852F36-1809-4CF0-A47A-1FF4D4A3AB74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110569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CC8AC96-2027-4A51-8557-F6B5370F0BDA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5326063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476408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420370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92"/>
            </p:custDataLst>
          </p:nvPr>
        </p:nvCxnSpPr>
        <p:spPr bwMode="auto">
          <a:xfrm>
            <a:off x="284163" y="364172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D7CC964-458D-40DA-960C-745D0D3B2972}"/>
              </a:ext>
            </a:extLst>
          </p:cNvPr>
          <p:cNvCxnSpPr/>
          <p:nvPr userDrawn="1">
            <p:custDataLst>
              <p:tags r:id="rId93"/>
            </p:custDataLst>
          </p:nvPr>
        </p:nvCxnSpPr>
        <p:spPr bwMode="auto">
          <a:xfrm>
            <a:off x="284163" y="3079750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B04F9EE-FF13-48A1-B04E-59906AE3CC02}"/>
              </a:ext>
            </a:extLst>
          </p:cNvPr>
          <p:cNvCxnSpPr/>
          <p:nvPr userDrawn="1">
            <p:custDataLst>
              <p:tags r:id="rId94"/>
            </p:custDataLst>
          </p:nvPr>
        </p:nvCxnSpPr>
        <p:spPr bwMode="auto">
          <a:xfrm>
            <a:off x="284163" y="2517775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2638BB0-F93A-46D7-9D19-DDEA36CF4EC3}"/>
              </a:ext>
            </a:extLst>
          </p:cNvPr>
          <p:cNvCxnSpPr/>
          <p:nvPr userDrawn="1">
            <p:custDataLst>
              <p:tags r:id="rId95"/>
            </p:custDataLst>
          </p:nvPr>
        </p:nvCxnSpPr>
        <p:spPr bwMode="auto">
          <a:xfrm>
            <a:off x="284163" y="5888038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96"/>
            </p:custDataLst>
          </p:nvPr>
        </p:nvCxnSpPr>
        <p:spPr bwMode="auto">
          <a:xfrm>
            <a:off x="284163" y="195580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7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98"/>
            </p:custDataLst>
          </p:nvPr>
        </p:nvCxnSpPr>
        <p:spPr bwMode="auto">
          <a:xfrm>
            <a:off x="284163" y="13954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99"/>
            </p:custDataLst>
          </p:nvPr>
        </p:nvSpPr>
        <p:spPr bwMode="auto">
          <a:xfrm>
            <a:off x="325438" y="1263650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100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101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3" name="Text Placeholder 4">
            <a:extLst>
              <a:ext uri="{FF2B5EF4-FFF2-40B4-BE49-F238E27FC236}">
                <a16:creationId xmlns:a16="http://schemas.microsoft.com/office/drawing/2014/main" id="{67EAB526-29E1-4165-87FC-5211E6FAF2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6200000">
            <a:off x="245656" y="1489280"/>
            <a:ext cx="52789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0" name="Text Placeholder 4">
            <a:extLst>
              <a:ext uri="{FF2B5EF4-FFF2-40B4-BE49-F238E27FC236}">
                <a16:creationId xmlns:a16="http://schemas.microsoft.com/office/drawing/2014/main" id="{32353348-4333-4D28-AB20-CEC345467D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 rot="16200000">
            <a:off x="245656" y="2610562"/>
            <a:ext cx="52789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2B952BBE-03D0-45EA-BB1B-6C2027C300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 rot="16200000">
            <a:off x="245656" y="3171203"/>
            <a:ext cx="52789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D17FE071-6A43-451A-A3CC-B74AA7AD6E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16200000">
            <a:off x="245656" y="3731844"/>
            <a:ext cx="52789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54ED0DC0-1EC3-4338-80C7-DDB2F97E12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 rot="16200000">
            <a:off x="245656" y="4292485"/>
            <a:ext cx="52789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51" name="Text Placeholder 4">
            <a:extLst>
              <a:ext uri="{FF2B5EF4-FFF2-40B4-BE49-F238E27FC236}">
                <a16:creationId xmlns:a16="http://schemas.microsoft.com/office/drawing/2014/main" id="{FCD70E19-EECF-496B-9A6D-E517C59AB3D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245656" y="4853126"/>
            <a:ext cx="52789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52" name="Text Placeholder 4">
            <a:extLst>
              <a:ext uri="{FF2B5EF4-FFF2-40B4-BE49-F238E27FC236}">
                <a16:creationId xmlns:a16="http://schemas.microsoft.com/office/drawing/2014/main" id="{F55DCF24-4DEC-4290-BDAD-A339242C2EF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rot="16200000">
            <a:off x="245656" y="5413767"/>
            <a:ext cx="52789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68" name="Text Placeholder 4">
            <a:extLst>
              <a:ext uri="{FF2B5EF4-FFF2-40B4-BE49-F238E27FC236}">
                <a16:creationId xmlns:a16="http://schemas.microsoft.com/office/drawing/2014/main" id="{02F6309D-1791-4B82-B0A6-F5BA786EBC7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6200000">
            <a:off x="245656" y="5974411"/>
            <a:ext cx="52789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49" name="Text Placeholder 4">
            <a:extLst>
              <a:ext uri="{FF2B5EF4-FFF2-40B4-BE49-F238E27FC236}">
                <a16:creationId xmlns:a16="http://schemas.microsoft.com/office/drawing/2014/main" id="{E8BF99FF-E4EC-418E-84BA-4F0F8C3DB8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6200000">
            <a:off x="245656" y="2049921"/>
            <a:ext cx="52789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1217430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3_9 Lane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9" name="think-cell Slide" r:id="rId103" imgW="360" imgH="360" progId="TCLayout.ActiveDocument.1">
                  <p:embed/>
                </p:oleObj>
              </mc:Choice>
              <mc:Fallback>
                <p:oleObj name="think-cell Slide" r:id="rId103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1955800"/>
            <a:ext cx="11730037" cy="56197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4203700"/>
            <a:ext cx="11730037" cy="56038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8507BD-FB74-4D5A-AE4D-36E33E253E40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284163" y="5326063"/>
            <a:ext cx="11730037" cy="56197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8195978-4248-4910-9A75-04356CE1721E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284163" y="3079750"/>
            <a:ext cx="11730037" cy="56197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E9770D5-5CD9-4C43-A300-172B097628D1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735014" y="982663"/>
            <a:ext cx="284321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BF0DFD-E272-4E7E-933A-82534E2730F3}" type="datetime'''''''''2''''''''''''''''''''0''''''''''''2''2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5A17A3EA-2A29-4640-B912-9708295C1EB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3578225" y="982663"/>
            <a:ext cx="8435975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9353BF2-202D-4DCE-B790-7F573C87E74A}" type="datetime'''''''''''''''''2''''''''''0''''''''''''''23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879F7049-E257-4868-9AEC-B251A4752071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735013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74ECCA5-F1DE-4210-AAEC-373CF4C99864}" type="datetime'''''''''''''''O''''''''''''''''''''''''''c''''''t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FA4718E4-B3A5-4C13-B951-CFFD048986E6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169227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89F4137-72DD-4FDB-A4C2-0E878E404EC8}" type="datetime'''''''''''''N''o''''''''''''''''''v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B474FC1D-E052-4B46-B926-05AC9C8D321A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26193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0CC3E40-564F-429C-B10A-A857BD271B00}" type="datetime'D''''''''''''''''''''''''''''e''''''''''''''c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302D440D-985E-462D-8952-337F8B9B4EE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3578225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4DDE882-9B9B-41E7-A57B-DD925D8CD142}" type="datetime'''''''''''''J''''a''''''''n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B07876FD-BC05-43C1-9C9F-491D12164847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4535488" y="1133475"/>
            <a:ext cx="86518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490DBC5-EB00-4E1E-A93A-02C29A44F4B2}" type="datetime'''''F''''''''''''e''''b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BE0404E4-B2DD-4397-B0E7-D671ED84CAE1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54006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7535C6A-B6BA-4213-A871-CDEB49388EDF}" type="datetime'''''''''''''''''''''''''''''''''''''''''''Ma''''''r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0E60F007-981D-4E36-B63D-5A5AEF957570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635952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AABB4D3-6451-4EC3-8D2A-FDDC3F67EFD8}" type="datetime'''''''''A''''''''''''''''''''''''''''p''''''''''r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81E2C4FE-89F0-4B40-8A24-1909A5AABCCC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7286625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4DB2DA1-E520-4026-915E-D04B965694DE}" type="datetime'''M''''''''''''''''''a''''''''''''''''''''y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C0A11947-D73F-47CF-8FEA-05E6EC2F2951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824388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0D2CF2C-32F8-40D5-913D-D105B104A768}" type="datetime'''''''''''''''''''J''''''''''''''u''''''''''n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116781D7-5F03-47E2-84E6-BD1D84E3566D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9170988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EB95601-4762-4ABE-9E50-A820224E995F}" type="datetime'''''''''''''J''''''''''''u''''''''''''''l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C6C7E796-C958-48C0-965D-4CE3EB6BEC55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10129838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4B9691A-A7D9-4E99-AD3F-C96CA8455CDE}" type="datetime'''''A''''''''''''''''u''''''''''''''''''''''''''''''g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6EEF8331-811C-480F-9FC6-B88B452B09AA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11087100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E85A31D-F196-4755-94BF-743BBECD44EC}" type="datetime'''''''''''''''S''''''''''''''e''''''''''p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4539D3CB-7BCC-4799-8160-B80D751299E1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735013" y="1284288"/>
            <a:ext cx="301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248D5A86-795D-4990-95D6-B8D413A3101C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7651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ACB2F04-0E67-4E02-8CE5-8C5F021F0BF8}" type="datetime'''''0''2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FAAC9995-48A2-46AA-A799-1F75ABC16F4F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9826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51304EB-AC4C-45FC-8AD6-706FE7479F71}" type="datetime'''0''''''''''''''''''''''''''''''''''''''''''''''''''''9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CAB98990-5130-45F2-94CD-D90CF64DAC63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1985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B44CD29-4B53-4586-A0B9-6DE9038867B2}" type="datetime'''1''''6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664540BE-DD7B-4F6C-BDC1-DFAC6DBB50DA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14144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454528F-CC76-434B-873C-A03BD88C1865}" type="datetime'''2''''''''''3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06537E96-F38B-4621-9C93-EBDA2837C70C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16319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5715183-09DF-4063-85CE-2BB61DCD7E2C}" type="datetime'''''''''''''''''''''''''3''''''''0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7F79DF29-A8E7-4C88-8C7A-2A5791804041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18478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57014ED-DDEB-4257-A3EF-419A8C7D2E68}" type="datetime'''''''''''''''''''''''''0''''''6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3513C50D-6575-45F5-BE36-71D876665A40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0637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C097D90-90F2-42DA-AA56-5A2AA2A8EB9A}" type="datetime'''''''''''1''''''''''''''3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A974A9B5-7C7E-482C-9768-99F46E19430B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2796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51C4A9F-A159-49DD-AC55-D0A631310D4C}" type="datetime'''''''''''''''''''''''''''''''2''''''''0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47FF3598-7937-4C71-9102-C44CA79B014F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24971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A154B50-C246-4CAD-B19B-11FF943974C8}" type="datetime'''''''''''''''''''''2''''''''''''''''7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0DFBA05F-0BA2-471D-95C5-643E2FFA8D39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27130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EEF6A8D-5262-45D7-A1EF-1963052BF1C5}" type="datetime'''''''''''''''''''''''''0''4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02C1A07D-E79F-4FAC-B5E0-E0B15127786A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29289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08E246B-DE97-4BFD-9EFF-04692F9C201E}" type="datetime'''''''1''''''''1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473971A5-DCBA-4320-AC00-BD24F903C022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1448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DCFAD19-A85E-4600-A021-A18882143261}" type="datetime'1''''''''''''''''''''''''''''''''''''''''''''''''''''''''''8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932DC2E7-4F20-4AD1-98F3-EEA08B89EFBB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3623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BAD3D81-D6DD-4B38-AC29-1A69B4F6FAE8}" type="datetime'''2''''''''''''''''''''''5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4C85D426-9344-4554-9F09-E975C6DB798B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35782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3F78CA7-F33B-45FB-A7F2-928589037397}" type="datetime'''''''''''''''''''''''''0''1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333720FB-644E-43CF-8475-ACB89F55776C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37941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C3E25DF-0D94-4123-B52B-39F1C5891CBF}" type="datetime'0''''''''''8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EDE710F2-967B-42D6-9CFE-B4E907A816BF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0100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CC87DC-BDFA-40CE-AA37-5F2436524749}" type="datetime'''''''''''''''''''''1''''''''''''''''''''''''''''''''''5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627472A2-2A7F-4B4A-ACE5-61133EC5DC9E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2275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39EB2A0-80FE-48C6-B5AE-957621A350FF}" type="datetime'''''''''''''''''''2''''''''''''''''''''''''''''''2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47D273A0-E37C-467C-ABA0-551431AB00ED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44434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E653634-9807-4E2C-91B5-08208B38552B}" type="datetime'''''''''''''2''''''''''''''''''''''''''''''''9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6742AE0B-3A52-4B77-8A02-B742AE20B363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46593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65CBD42-6A85-40C8-B3F8-60697D0EAE09}" type="datetime'''''0''''''''''''''''''''5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D50F98B7-C215-45A5-A2B9-F2A3BB4C4D1B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48752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FF85F3D-F2C3-437E-A8DF-EB0D98949A52}" type="datetime'''''''''''''''''''''''''''''''''''''''''''''''''''1''''''''2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789842E6-2087-47A9-A8AB-6BCDC3259DC8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0927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1AF5754-DEDF-4280-90CA-69298CA23A82}" type="datetime'''''''''''''''''''''''''''''''''''''''''''1''''''9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8F3C77D3-9A7A-4585-8ACF-07F2AA34B44C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3086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E035BED-6BE5-4561-88A7-4C90800ADCCD}" type="datetime'''''''''''''''''''''''''''''''2''''''6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7725F473-B027-48C1-9C78-7279D6B94A18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55245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A2E2DFE-7161-42F1-8058-5A6D0A2A6178}" type="datetime'''''''''''''''0''''''''''''5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CA67AC63-8301-4495-BE5E-DB1F005892BC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57404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C431485-D6C2-4AA7-977E-005404F52C9E}" type="datetime'''''''1''''''''''''''''''''''''''''''''''''''''''''''''2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C1B4DA10-9994-415E-B853-DF27B13E0153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59578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CB15717-9F3F-4F36-9737-41AF39EE7E8D}" type="datetime'''''''1''''''''''''''''''''''''''''''''''''''9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4A1D633F-3796-4D32-8912-BB7F4B7CB2F6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1737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031D659-BE6F-4215-8D2C-2240669368B6}" type="datetime'''''''''''''''2''''''''''''''''''''''6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F71228A6-7D88-4D9E-921A-68646E564FFB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63896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166BEFB-152B-4046-A638-00C75B21253B}" type="datetime'''''''''''0''''''''''''''''''''''''''2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575B5C39-3DEC-49A2-8CB2-D94D6C149F81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66055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8D05660-0E7C-4F67-9859-5A2D2DE0B3F3}" type="datetime'''''''''''''''''''''''''''0''''''''''''''''9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87158B93-056D-4BEC-9A39-80407EF564A7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68230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7DA4A65-DAD3-497E-A94F-A4A96D38D3A0}" type="datetime'1''''''''''''''''''''''''6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8B8C0F33-A41E-472F-8137-8C42A254D0E1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0389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4BCCC3C-7058-4962-9B9E-BAE796414C8C}" type="datetime'''''''''''''''''''''''''''''''''''''''2''''''''''''''''''3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AA7F3D37-9165-4922-885E-82925C7EF976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2548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C85E5AE-C64C-4BAA-86D2-B803F603079C}" type="datetime'''''''''''3''''''''''''''''''''0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FBA0B253-0B69-4927-B079-F4D6DAC31371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74723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7A6CD56-5C15-4028-9A5B-FDE6A53C44F5}" type="datetime'''''''''''0''''''''''''7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20BB6214-CC72-4238-AA68-64A9D0E5458E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76882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86A8313-20BB-4A4D-B3A4-9078005315EA}" type="datetime'''''''''''''''''1''''4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1369E926-B09A-4651-8724-C3B92D48F0B1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79041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0E51F88-3FBD-468B-9688-70923D1F164F}" type="datetime'''''''''''''''2''''''''''''''''''1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0DBF8E86-202E-4627-B436-00F0EB8F0459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1200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92C8577-09FA-43DE-BD25-E718AB578168}" type="datetime'''2''''''''''''''''''''''''''''''''''8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B71960B-D3E6-4A4A-B096-708B22D8A603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3375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9F368A7-F876-4CAB-854F-B6E6968F970A}" type="datetime'''''''''''''''''''''''''0''''''''''''''''''''''''''''''''4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00E15C66-F8D0-4577-8789-2FE3B6051684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85534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29C2A0A-FC09-4077-B6FC-183FEBB9222F}" type="datetime'''''1''''''''''''''''''''''''''''''''''''1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D08488BA-8FE0-4B9D-920A-E7AD757A3A82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87693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9A3F579-DE9D-413F-B02C-67C1B81E371A}" type="datetime'''''''18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7549B115-8A22-4548-A3CB-028B08BF43CF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89852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3233320-F5BF-4ACA-B072-4662925AF4DA}" type="datetime'''''''''''''''''2''''''''''''''''''''''''''''''5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296161EA-C724-4E00-BDEB-49DA778324B5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2027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8A01D38-29C2-477A-8478-A3A535EE090D}" type="datetime'''''''0''2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F1CA9584-6875-45BA-BD5C-385BB2E75FDA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94186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F52E82C-E04D-463E-A5BC-F1093016A21D}" type="datetime'''''''''''''''''''''0''''''''''''''''''''''''''''''''9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E8E953C4-2A78-4DD1-8BE2-78C5BF01AFD0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96345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8AED291-04D6-47AB-ABE3-23C6D33ABE86}" type="datetime'''''''''''''''''''''''''''''''''''''''''16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B259B8D9-ED2E-4215-A88C-83C4D2878232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98504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36F6A93-5561-4FAB-8211-CE2B3384BDD6}" type="datetime'''''''''''''''''''''2''3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5112BF90-FAB9-4C76-8705-B965C808FD35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0679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E7AFC64-D55C-4164-BD2A-D82E138721AE}" type="datetime'''''''''''''''''''''3''''''''0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889180A3-D7F1-4EA5-9318-158C85676E22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2838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773DA7B-470B-4764-B27C-ED520797403F}" type="datetime'''''''''''''''0''''''''''''6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A4A0DD04-82A9-4C73-9085-E024099E30A0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04997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F036592-9469-476E-B056-829795022AF2}" type="datetime'''''''''1''''''3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71C92E0D-6C2D-4A12-AA49-3900736EB8BA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07156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81A88F1-584B-498B-89DE-C900155781F9}" type="datetime'''''''''''''''''''''''2''''''''''''''0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9BA0806B-1374-41A3-8BBD-D2221CFA348A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09331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72C91B4-6348-4D49-B86F-028A1E2FDDE1}" type="datetime'''''''''2''''''''''''''''''''''''''7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EC417B0C-C31B-4953-998F-0D9F1633DC67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1490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ADA409-8630-43E8-997B-CD11316DBAC2}" type="datetime'''''''''''''''''''''''''0''''''''''''''''''3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DA74BD8B-0657-431D-924C-48DCEA92FC4B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113649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3C08A1-2320-4F1C-A924-2E6A707CFD5D}" type="datetime'''''''''''''''''''''''''''''1''''''''''''''''''''0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17BA954A-1AD2-4CDC-A69B-D0583C67763F}"/>
              </a:ext>
            </a:extLst>
          </p:cNvPr>
          <p:cNvSpPr/>
          <p:nvPr userDrawn="1">
            <p:custDataLst>
              <p:tags r:id="rId73"/>
            </p:custDataLst>
          </p:nvPr>
        </p:nvSpPr>
        <p:spPr bwMode="auto">
          <a:xfrm>
            <a:off x="115808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000999A-1851-49D0-973B-65D8DAAC00B3}" type="datetime'''''''''''''''''''''''''''''1''''''7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15588618-E8DE-41C7-9D71-3908155E8547}"/>
              </a:ext>
            </a:extLst>
          </p:cNvPr>
          <p:cNvSpPr/>
          <p:nvPr userDrawn="1">
            <p:custDataLst>
              <p:tags r:id="rId74"/>
            </p:custDataLst>
          </p:nvPr>
        </p:nvSpPr>
        <p:spPr bwMode="auto">
          <a:xfrm>
            <a:off x="117983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F68611B-87D7-4CC4-A439-5F3CE6BDFAB1}" type="datetime'''''''''''''''2''''''''''''''4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73501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16922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26193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4C97057-9AD1-40C0-AB5D-5C1BB761D75A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82438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35782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51B0BC1-D564-4D48-B60B-1FE8697E89BB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45354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EF4813A-D85F-4104-911B-32E84F0788A9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54006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12014200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28416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3B36AC-A418-4281-81E2-A30783FDCA8A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63595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18CBEAA-5524-4FAC-8896-708B98262E09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72866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D3D06AB-6966-45B7-979E-C82F7AC49227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91709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E496537-3195-45D5-82F8-A29A18F1CEBC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101298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D92FDAB-CAE8-4A6B-951D-AF46D4FC8369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1108710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420370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476408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364172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CC8AC96-2027-4A51-8557-F6B5370F0BDA}"/>
              </a:ext>
            </a:extLst>
          </p:cNvPr>
          <p:cNvCxnSpPr/>
          <p:nvPr userDrawn="1">
            <p:custDataLst>
              <p:tags r:id="rId92"/>
            </p:custDataLst>
          </p:nvPr>
        </p:nvCxnSpPr>
        <p:spPr bwMode="auto">
          <a:xfrm>
            <a:off x="284163" y="5326063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D7CC964-458D-40DA-960C-745D0D3B2972}"/>
              </a:ext>
            </a:extLst>
          </p:cNvPr>
          <p:cNvCxnSpPr/>
          <p:nvPr userDrawn="1">
            <p:custDataLst>
              <p:tags r:id="rId93"/>
            </p:custDataLst>
          </p:nvPr>
        </p:nvCxnSpPr>
        <p:spPr bwMode="auto">
          <a:xfrm>
            <a:off x="284163" y="3079750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B04F9EE-FF13-48A1-B04E-59906AE3CC02}"/>
              </a:ext>
            </a:extLst>
          </p:cNvPr>
          <p:cNvCxnSpPr/>
          <p:nvPr userDrawn="1">
            <p:custDataLst>
              <p:tags r:id="rId94"/>
            </p:custDataLst>
          </p:nvPr>
        </p:nvCxnSpPr>
        <p:spPr bwMode="auto">
          <a:xfrm>
            <a:off x="284163" y="2517775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95"/>
            </p:custDataLst>
          </p:nvPr>
        </p:nvCxnSpPr>
        <p:spPr bwMode="auto">
          <a:xfrm>
            <a:off x="284163" y="195580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2638BB0-F93A-46D7-9D19-DDEA36CF4EC3}"/>
              </a:ext>
            </a:extLst>
          </p:cNvPr>
          <p:cNvCxnSpPr/>
          <p:nvPr userDrawn="1">
            <p:custDataLst>
              <p:tags r:id="rId96"/>
            </p:custDataLst>
          </p:nvPr>
        </p:nvCxnSpPr>
        <p:spPr bwMode="auto">
          <a:xfrm>
            <a:off x="284163" y="5888038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7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98"/>
            </p:custDataLst>
          </p:nvPr>
        </p:nvCxnSpPr>
        <p:spPr bwMode="auto">
          <a:xfrm>
            <a:off x="284163" y="13954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99"/>
            </p:custDataLst>
          </p:nvPr>
        </p:nvSpPr>
        <p:spPr bwMode="auto">
          <a:xfrm>
            <a:off x="325438" y="1263650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100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101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3" name="Text Placeholder 4">
            <a:extLst>
              <a:ext uri="{FF2B5EF4-FFF2-40B4-BE49-F238E27FC236}">
                <a16:creationId xmlns:a16="http://schemas.microsoft.com/office/drawing/2014/main" id="{67EAB526-29E1-4165-87FC-5211E6FAF2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6200000">
            <a:off x="245656" y="1489280"/>
            <a:ext cx="52789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0" name="Text Placeholder 4">
            <a:extLst>
              <a:ext uri="{FF2B5EF4-FFF2-40B4-BE49-F238E27FC236}">
                <a16:creationId xmlns:a16="http://schemas.microsoft.com/office/drawing/2014/main" id="{32353348-4333-4D28-AB20-CEC345467D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 rot="16200000">
            <a:off x="245656" y="2610562"/>
            <a:ext cx="52789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2B952BBE-03D0-45EA-BB1B-6C2027C300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 rot="16200000">
            <a:off x="245656" y="3171203"/>
            <a:ext cx="52789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D17FE071-6A43-451A-A3CC-B74AA7AD6E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16200000">
            <a:off x="245656" y="3731844"/>
            <a:ext cx="52789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54ED0DC0-1EC3-4338-80C7-DDB2F97E12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 rot="16200000">
            <a:off x="245656" y="4292485"/>
            <a:ext cx="52789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51" name="Text Placeholder 4">
            <a:extLst>
              <a:ext uri="{FF2B5EF4-FFF2-40B4-BE49-F238E27FC236}">
                <a16:creationId xmlns:a16="http://schemas.microsoft.com/office/drawing/2014/main" id="{FCD70E19-EECF-496B-9A6D-E517C59AB3D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245656" y="4853126"/>
            <a:ext cx="52789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52" name="Text Placeholder 4">
            <a:extLst>
              <a:ext uri="{FF2B5EF4-FFF2-40B4-BE49-F238E27FC236}">
                <a16:creationId xmlns:a16="http://schemas.microsoft.com/office/drawing/2014/main" id="{F55DCF24-4DEC-4290-BDAD-A339242C2EF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rot="16200000">
            <a:off x="245656" y="5413767"/>
            <a:ext cx="52789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68" name="Text Placeholder 4">
            <a:extLst>
              <a:ext uri="{FF2B5EF4-FFF2-40B4-BE49-F238E27FC236}">
                <a16:creationId xmlns:a16="http://schemas.microsoft.com/office/drawing/2014/main" id="{02F6309D-1791-4B82-B0A6-F5BA786EBC7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6200000">
            <a:off x="245656" y="5974411"/>
            <a:ext cx="52789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49" name="Text Placeholder 4">
            <a:extLst>
              <a:ext uri="{FF2B5EF4-FFF2-40B4-BE49-F238E27FC236}">
                <a16:creationId xmlns:a16="http://schemas.microsoft.com/office/drawing/2014/main" id="{E8BF99FF-E4EC-418E-84BA-4F0F8C3DB8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6200000">
            <a:off x="245656" y="2049921"/>
            <a:ext cx="527898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615399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Lane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3" name="think-cell Slide" r:id="rId105" imgW="360" imgH="360" progId="TCLayout.ActiveDocument.1">
                  <p:embed/>
                </p:oleObj>
              </mc:Choice>
              <mc:Fallback>
                <p:oleObj name="think-cell Slide" r:id="rId10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1900238"/>
            <a:ext cx="11730037" cy="50641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8195978-4248-4910-9A75-04356CE1721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2911475"/>
            <a:ext cx="11730037" cy="5048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284163" y="3922713"/>
            <a:ext cx="11730037" cy="5048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8507BD-FB74-4D5A-AE4D-36E33E253E40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284163" y="4932363"/>
            <a:ext cx="11730037" cy="50641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968B50-A7E2-4292-9B5A-6555C4482AF4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284163" y="5943600"/>
            <a:ext cx="11730037" cy="50641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E9770D5-5CD9-4C43-A300-172B097628D1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735013" y="982663"/>
            <a:ext cx="849788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BF0DFD-E272-4E7E-933A-82534E2730F3}" type="datetime'''''''''2''''''''''''''''''''0''''''''''''2''2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B3E22217-082F-4128-9E93-6C8C67444CB2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9232899" y="982663"/>
            <a:ext cx="2781300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2EC7794-E34B-4694-BDF5-39C65BED5830}" type="datetime'''2''''''''''''0''''''''2''''''''''''''''3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0F81C145-2690-4C94-8454-8AA21CEB3334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735013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E2DD7EE-F686-4C6A-B8EC-2CDC3C3599CA}" type="datetime'''''''''''''''''''A''''''''''''''''p''''''''r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BB989622-68CA-469E-B3CF-6CE2E896CF4A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1662114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52EF1F3-DC74-4B3F-B72C-7FE50606F30B}" type="datetime'''''''M''''''a''''''''''''y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427BAAC6-BA67-4FA9-ABB6-5BA526564948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261937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CDB3BBD-926C-4DA3-973F-8E1FFFD45C61}" type="datetime'''''''''''''''''''''J''''''''''''u''''''''n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0A123007-420C-40AD-8DFF-BE9525D2CD8B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35464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DCC2C1-E93C-498F-9859-6879A8DC1BC0}" type="datetime'''J''''''''''''''''u''''''''''''''''''''''''''''''l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05CD402E-42BA-4A52-8BD2-C2935A9C4C3F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4505326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3B28E70-28D7-49B3-A9E1-1F431EB7C19A}" type="datetime'''''''''''''A''''''''''''u''''''''''''''''''''''''g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2F44213C-7A4E-4409-A1B1-A47DF71D6AD7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546258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CE7E092-5289-472E-A02F-C95ED16444DF}" type="datetime'''''''''''''''''''''''S''''''''''''''''e''''p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DEB4B96B-E5B1-4B34-8A9E-0E945CFB9E79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6389688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A034279-0D1C-4CC2-85A6-F4CD379F3B7E}" type="datetime'''''O''''''''''''''''''''''''''''c''''''t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AB402E88-9A75-4A7D-91B0-886A39CD1734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734853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126E3FA-F68F-4F11-9D19-BF68308BAF34}" type="datetime'''''''''''''''''No''''''v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C64542CD-35E0-45D1-AE03-14107123E940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8275639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B3AF9AA-5394-483B-A4FA-DC6266512CC2}" type="datetime'''''''''''''D''''e''''''''''''''''''''''''''''''c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0EA86F07-C5CC-49FF-B7C1-DE8DDC0979A9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9232900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148AD9C-4A43-4CF8-9A7C-105A3ED6E455}" type="datetime'''J''''''''''a''''''''n''''''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BB926514-3E52-40D2-AC95-2C3F0F5F3618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10191750" y="1133475"/>
            <a:ext cx="86518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979520F-5A82-4AE3-8B78-5510A7EB64A9}" type="datetime'''''F''''e''''''''''''b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B4C5035A-0623-4613-8D6F-B62DC2D1380C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11056938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F2FEAAC-29FF-4672-8D3D-718F6F07AD1D}" type="datetime'''''''''''''''''''''M''''''a''r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C353B356-4523-4EBB-8BB5-4BEE486EFDA8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735013" y="1284288"/>
            <a:ext cx="6191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5609A8C5-6F5A-4550-B22E-654B7E2101C4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7969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D8F118-CBBD-4762-817A-055703699BA9}" type="datetime'''''''''''''''''''''''''''''''''''''''''0''''''''3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A1943558-0C92-4E99-A787-BBB1C8828EFB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0128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259F03-6E18-4779-930F-251F417874E6}" type="datetime'''''1''''''''''''''''''''''''''''''''''''''''0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0CDCFC8-95BF-4577-92F4-D3D1D21F219B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12287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343E31A-C26F-475F-B860-FC899D288650}" type="datetime'''''''''''''''''1''''''''''''''''''''''''''''''7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EC14448-42E8-45BE-8DA8-EF845841B2C0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14462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0240EFC-0EBE-4EE6-B9EE-C4C9CF945042}" type="datetime'''''''''''''''''''''''''''''''''''''''''''''2''''''''''4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95C90B70-E522-40BB-808D-E77C9CED9CA5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16621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7F93BE0-24ED-4A39-9962-731338525248}" type="datetime'''''''''''''''''''0''''''''''''''''''''''''''''1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400093FB-249D-4F1E-9815-FBB2F5130F10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18780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634AEB2-ECD3-4E25-B83D-6FF7BC146DA3}" type="datetime'''''''''0''''''''''''''''''''''''''''''8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FF192964-A361-4542-8CE1-C9EF7E8185B2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0939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35717EC-5376-4304-BAC0-217532DD523A}" type="datetime'''''''''1''''''''''''''''''''5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B7FCF34C-1B18-4A4F-891A-39EBA462013A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23114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2B21F7C-B124-4E92-B6E2-DC3328677F28}" type="datetime'''''''''''''''''''''2''''''''''2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0C44E939-8B94-4731-A750-C2E3E393116D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25273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9B20D4F-E2C9-4017-9693-D1E781E4FCB4}" type="datetime'''''''''''''29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F46E74E0-4873-4A93-B09A-A7B619A27EBE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27432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DEA1314-9A91-4D14-816A-FE88681B58DF}" type="datetime'''0''5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C0D6DC35-6D76-4F8F-8256-FD78110ED1F0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29606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2DFAD3A-7041-4715-86CA-C20D966C06D0}" type="datetime'''''''''''''''''''''''1''''''''''2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3E13995B-8198-415A-9156-E015150B61B7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1765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BF7D18D-8A61-4761-AEA5-DB3A1DAFFC81}" type="datetime'''''''''''''''''''''''''''''1''''9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448A726D-607A-46CC-AA6A-FE7C8D4D2966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33924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708B8A3-74D1-447A-9328-0832107227B6}" type="datetime'''''''''''''''''''2''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12ECE431-48F4-4504-A521-88F3E41B33F2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36083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0D8ABB-9C25-409B-8FBF-7EAC8AEB9F21}" type="datetime'''''''''''''''0''3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259CDD20-6560-4A24-80A9-B2EA2AA7A9D4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38258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ABDCD07-E733-4073-9D55-D6B50AE9776B}" type="datetime'''1''''''''''''''''''''''''''''''''''''''''''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88086E06-1D2A-43FC-AC66-D79253D6C3B1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0417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67D064E-5417-42DE-BA89-6F70088F316C}" type="datetime'''''''1''''''''''''''''''''''''7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9381CBBF-CF58-43C5-B7D4-029DE12B23CB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42576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53433C-5DF8-47BF-B2C1-0A9734FC607B}" type="datetime'''''2''''''4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598338B8-9942-4BCA-85E0-7CD5F7082476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44735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90104A4-1CB3-4406-BEFF-57FF47F9D721}" type="datetime'''''''''''''''''''''''''''''''''''''''''3''''''''''1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1574E475-414A-48FD-821C-7DACC466F095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46910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FAC8596-97AF-4622-A1DE-426FF710455E}" type="datetime'''''''''''''''''''''0''''''''7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696971D8-ECE8-49CB-B30E-84276A53DF29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49069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7ED0546-77E8-4622-A87C-5F54C7BB80D3}" type="datetime'1''''''''4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F40EF10-44A3-4E69-A3D1-51AF29EC2F0A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1228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08C19F5-C642-49C7-A41B-08F65CF90AE8}" type="datetime'''''2''''''''1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93A3A84B-AC7C-4BAB-805F-D206EA43652D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53387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0C357C6-ED28-4D6F-9A35-3F5FD12095F1}" type="datetime'''''''''2''''''''''''''''''''''''''''''''''''''''''''8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F0E3F4B4-CA3E-4E11-9E40-226F41AE9BE8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55562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1AC43BB-F4B6-4647-8032-2868EAAA5826}" type="datetime'0''''''''''''''''''''''''''''''4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11C1226D-D6C5-4B16-980D-71C9EC377827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57721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FBD0FC9-A6FA-47CD-BDEC-B0CC52EB7CC6}" type="datetime'''''''''''''''''''''''''''''''''''''11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1265F0F7-212B-46F8-8EF3-0DFB8917DA58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59880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075223D-D264-4D34-9162-54ACC38EC60E}" type="datetime'''''''''''''''''''''1''''''''''''''''''''''''''''''''8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8E3D62CD-3CF4-4422-B78C-158839D2B120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62039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4D14294-44FD-4ED7-B85F-FF1326F0E829}" type="datetime'''2''''5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8C891DEE-ABD7-490A-9C9C-93D5677D1FA6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64214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B0BCF64-240D-4BC4-8133-6F4001D5E5D6}" type="datetime'0''''''''''''''''''''''2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1B3AB5BE-5D00-4E94-98A3-59F02AC76474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66373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649B6C7-3E28-4FF0-A75D-0F1EB3BFA8C6}" type="datetime'''''''''''''''''''''''''''''''''''''''''''''''''0''''''''''9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58ADC666-9AA7-408F-B333-4EE071A8939B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68532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3E78513-DF57-48F9-A09D-1C76484B6820}" type="datetime'''''''1''''''''6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188C6617-ABCB-4A33-8CD9-A5ADD65DD1C2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0691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A11317D-56C1-4002-9940-8C8CE82CC995}" type="datetime'''''2''''''''''''''''''''''''''''''3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773C8880-791D-4708-991C-C2FDCA61CACD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72866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47D1889-388C-400B-B77A-E3F67068ADEE}" type="datetime'''''''''''''''''''''''''''''''''''''''''''''''30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0061A3BC-71AD-413B-A1A5-06B89B69AF45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75025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BBDBBB8-95BE-43CD-A80F-DCB0E918D0DB}" type="datetime'''''''''0''''6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FA662229-D297-43DC-B497-A3E21078F013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77184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6228EE0-9995-426F-B481-CC5AA5162B5C}" type="datetime'''''''''1''''''''''''''''''''3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7341E671-5424-4322-B847-622A0BE05142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79359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C9276AA-D79C-46BB-8502-5308B17578FE}" type="datetime'''''''''''''''''''''''''''''''''''2''''''''''''''''''''''0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BE441894-2BF1-4038-AF76-46877C32DB48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1518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936B8EB-5EA2-45A5-83A0-882269CE00E8}" type="datetime'''''''''''''''''27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F41CA2F4-8207-408F-A5F1-08E149D699EE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83677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796AEB2-D885-4985-A98B-7BD51BB70087}" type="datetime'''''''''''''''''''''''''''''''0''''4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85079A86-96FC-4AE3-A7DE-FFE453E48E8C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85836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25392E6-D8D9-461E-A057-CDADE0E69A83}" type="datetime'''''''''''''''''''''''''''''''1''''''''''''''''''1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8061CF8E-E48E-4313-AE58-578494D08E90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88011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62E6B5B-5BD6-4CAA-B51F-1DB82CF541A3}" type="datetime'''''''''''''''''''''''''''''''''''''''''''18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757948A5-A23F-46DF-B405-060D3015F145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0170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0D8D9D3-3D65-482E-AFFA-A3ED8FD62E95}" type="datetime'''''''''''''''2''''''''''5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49FC942C-5816-4C30-8197-1D95AD586897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92329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95A1E0F-2423-430F-9BC2-3735D9233FEB}" type="datetime'''''''''''''0''''''''''''''''''1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3170E677-14F4-49DC-9BD6-B79A896A65D4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94488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3DC5FA-5CD1-4737-ADE5-0193DEED394E}" type="datetime'''''''''''''''''''''''''''''''''''''''''''''0''''''''8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ABAEB754-4AC7-4B20-8302-AB6D8DC5C3ED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96662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318CFC2-CA10-4A87-9B11-B7EBE2B84549}" type="datetime'''''''''''''''''''''1''''''5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27D57B85-9D54-4F1A-A1E6-8D2D409EEFAA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98821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8105FB1-71E6-45F1-9152-0980076AA5A0}" type="datetime'''''''''2''2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37F697DF-DF37-4C23-AB1C-762E0B7165FF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0980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1EC2D86-D7DD-4652-875E-EA8C2D774B78}" type="datetime'''''''''''''''''''''''''''2''''9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DA48CB0F-E17E-48BE-8718-ECDD4D564172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03139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5F04C24-D3E5-4C89-8934-FAE6D32AEB4B}" type="datetime'''''''0''''''''''''''5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40075DB5-2896-4D6A-BE5D-C12D08A5BFA0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05314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6BB2250-1F2C-492F-8162-16AC95DD5344}" type="datetime'''''''''''''''''1''''''''''''''''''''''''''2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5428CA6F-DD3F-4D95-BFFD-11B32EF56741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07473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02D1C3D-0159-4411-86EA-83AA54985280}" type="datetime'''''''''1''''''9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000BD712-DB10-489C-ABBC-97576DD21FBA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09632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A4526E6-7F0D-4ABE-B048-DF411EA8B6AC}" type="datetime'''''2''''''''''''''''''''''''''''''''''''6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F579B51E-5D30-4409-84D5-1546859E14F9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111791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F4FCEBE-325A-40B1-BB4A-6DD3D0A70659}" type="datetime'''''''''''''''''0''5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E26F2D88-1FDD-4A63-BC9A-0159B8ABB370}"/>
              </a:ext>
            </a:extLst>
          </p:cNvPr>
          <p:cNvSpPr/>
          <p:nvPr userDrawn="1">
            <p:custDataLst>
              <p:tags r:id="rId73"/>
            </p:custDataLst>
          </p:nvPr>
        </p:nvSpPr>
        <p:spPr bwMode="auto">
          <a:xfrm>
            <a:off x="113966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7B64EA6-6FB3-45CB-A5F8-487192226E5A}" type="datetime'''''''''''''''''''''''''''''''''''1''''2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A3CA74AE-0E42-4D22-9D5C-5499AE986931}"/>
              </a:ext>
            </a:extLst>
          </p:cNvPr>
          <p:cNvSpPr/>
          <p:nvPr userDrawn="1">
            <p:custDataLst>
              <p:tags r:id="rId74"/>
            </p:custDataLst>
          </p:nvPr>
        </p:nvSpPr>
        <p:spPr bwMode="auto">
          <a:xfrm>
            <a:off x="116125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0BC26C5-63A0-44AD-816E-E9927E5A5410}" type="datetime'''''''''''''1''''''''9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6D492035-7876-4540-8E8F-CF97AC61CF2A}"/>
              </a:ext>
            </a:extLst>
          </p:cNvPr>
          <p:cNvSpPr/>
          <p:nvPr userDrawn="1">
            <p:custDataLst>
              <p:tags r:id="rId75"/>
            </p:custDataLst>
          </p:nvPr>
        </p:nvSpPr>
        <p:spPr bwMode="auto">
          <a:xfrm>
            <a:off x="11828463" y="1284288"/>
            <a:ext cx="18573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1C7F69C-EEEA-4128-913C-10F3E23371EE}" type="datetime'''''''''''''''''''''''''''''''''''''''2''6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1662113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12014200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2EAF789-ACE5-4CBB-9C94-E272C112CC04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45053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509C8DE-4A14-4160-8D99-94FD2EFF9224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54625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B8E3FD7-A2C8-46CB-9851-36B5C4DD50CF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63896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0B38C75-3DAB-4919-990F-EE002EFD1B9E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73485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2A62AC9-D35E-4674-B544-9A4CA1D64A84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82756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D7CB336-CB93-4974-BE44-ACE8F89DD7AB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923290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A026FFF-FA5C-40C3-AE05-890F23029D6F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1019175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35464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28416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73501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26193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28A1117-6462-49F9-ADD2-298EF4C45FF0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110569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442753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CC8AC96-2027-4A51-8557-F6B5370F0BDA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4932363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2638BB0-F93A-46D7-9D19-DDEA36CF4EC3}"/>
              </a:ext>
            </a:extLst>
          </p:cNvPr>
          <p:cNvCxnSpPr/>
          <p:nvPr userDrawn="1">
            <p:custDataLst>
              <p:tags r:id="rId92"/>
            </p:custDataLst>
          </p:nvPr>
        </p:nvCxnSpPr>
        <p:spPr bwMode="auto">
          <a:xfrm>
            <a:off x="284163" y="5438775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D7CC964-458D-40DA-960C-745D0D3B2972}"/>
              </a:ext>
            </a:extLst>
          </p:cNvPr>
          <p:cNvCxnSpPr/>
          <p:nvPr userDrawn="1">
            <p:custDataLst>
              <p:tags r:id="rId93"/>
            </p:custDataLst>
          </p:nvPr>
        </p:nvCxnSpPr>
        <p:spPr bwMode="auto">
          <a:xfrm>
            <a:off x="284163" y="2911475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B04F9EE-FF13-48A1-B04E-59906AE3CC02}"/>
              </a:ext>
            </a:extLst>
          </p:cNvPr>
          <p:cNvCxnSpPr/>
          <p:nvPr userDrawn="1">
            <p:custDataLst>
              <p:tags r:id="rId94"/>
            </p:custDataLst>
          </p:nvPr>
        </p:nvCxnSpPr>
        <p:spPr bwMode="auto">
          <a:xfrm>
            <a:off x="284163" y="2406650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95"/>
            </p:custDataLst>
          </p:nvPr>
        </p:nvCxnSpPr>
        <p:spPr bwMode="auto">
          <a:xfrm>
            <a:off x="284163" y="392271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03DEA77-F9F2-4BB8-8F19-E0957396590F}"/>
              </a:ext>
            </a:extLst>
          </p:cNvPr>
          <p:cNvCxnSpPr/>
          <p:nvPr userDrawn="1">
            <p:custDataLst>
              <p:tags r:id="rId96"/>
            </p:custDataLst>
          </p:nvPr>
        </p:nvCxnSpPr>
        <p:spPr bwMode="auto">
          <a:xfrm>
            <a:off x="284163" y="5943600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97"/>
            </p:custDataLst>
          </p:nvPr>
        </p:nvCxnSpPr>
        <p:spPr bwMode="auto">
          <a:xfrm>
            <a:off x="284163" y="190023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98"/>
            </p:custDataLst>
          </p:nvPr>
        </p:nvCxnSpPr>
        <p:spPr bwMode="auto">
          <a:xfrm>
            <a:off x="284163" y="341630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9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100"/>
            </p:custDataLst>
          </p:nvPr>
        </p:nvCxnSpPr>
        <p:spPr bwMode="auto">
          <a:xfrm>
            <a:off x="284163" y="13954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101"/>
            </p:custDataLst>
          </p:nvPr>
        </p:nvSpPr>
        <p:spPr bwMode="auto">
          <a:xfrm>
            <a:off x="325438" y="1263650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102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103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3" name="Text Placeholder 4">
            <a:extLst>
              <a:ext uri="{FF2B5EF4-FFF2-40B4-BE49-F238E27FC236}">
                <a16:creationId xmlns:a16="http://schemas.microsoft.com/office/drawing/2014/main" id="{67EAB526-29E1-4165-87FC-5211E6FAF2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6200000">
            <a:off x="269652" y="1454776"/>
            <a:ext cx="479907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0" name="Text Placeholder 4">
            <a:extLst>
              <a:ext uri="{FF2B5EF4-FFF2-40B4-BE49-F238E27FC236}">
                <a16:creationId xmlns:a16="http://schemas.microsoft.com/office/drawing/2014/main" id="{32353348-4333-4D28-AB20-CEC345467D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 rot="16200000">
            <a:off x="269652" y="2464890"/>
            <a:ext cx="479907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2B952BBE-03D0-45EA-BB1B-6C2027C300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 rot="16200000">
            <a:off x="269652" y="2969947"/>
            <a:ext cx="479907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D17FE071-6A43-451A-A3CC-B74AA7AD6E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16200000">
            <a:off x="269652" y="3980061"/>
            <a:ext cx="479907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54ED0DC0-1EC3-4338-80C7-DDB2F97E12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 rot="16200000">
            <a:off x="269652" y="4485118"/>
            <a:ext cx="479907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51" name="Text Placeholder 4">
            <a:extLst>
              <a:ext uri="{FF2B5EF4-FFF2-40B4-BE49-F238E27FC236}">
                <a16:creationId xmlns:a16="http://schemas.microsoft.com/office/drawing/2014/main" id="{FCD70E19-EECF-496B-9A6D-E517C59AB3D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269652" y="4990175"/>
            <a:ext cx="479907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52" name="Text Placeholder 4">
            <a:extLst>
              <a:ext uri="{FF2B5EF4-FFF2-40B4-BE49-F238E27FC236}">
                <a16:creationId xmlns:a16="http://schemas.microsoft.com/office/drawing/2014/main" id="{F55DCF24-4DEC-4290-BDAD-A339242C2EF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rot="16200000">
            <a:off x="269652" y="5495232"/>
            <a:ext cx="479907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68" name="Text Placeholder 4">
            <a:extLst>
              <a:ext uri="{FF2B5EF4-FFF2-40B4-BE49-F238E27FC236}">
                <a16:creationId xmlns:a16="http://schemas.microsoft.com/office/drawing/2014/main" id="{02F6309D-1791-4B82-B0A6-F5BA786EBC7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6200000">
            <a:off x="269652" y="6000289"/>
            <a:ext cx="479907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49" name="Text Placeholder 4">
            <a:extLst>
              <a:ext uri="{FF2B5EF4-FFF2-40B4-BE49-F238E27FC236}">
                <a16:creationId xmlns:a16="http://schemas.microsoft.com/office/drawing/2014/main" id="{E8BF99FF-E4EC-418E-84BA-4F0F8C3DB8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6200000">
            <a:off x="269652" y="1959833"/>
            <a:ext cx="479907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50" name="Text Placeholder 4">
            <a:extLst>
              <a:ext uri="{FF2B5EF4-FFF2-40B4-BE49-F238E27FC236}">
                <a16:creationId xmlns:a16="http://schemas.microsoft.com/office/drawing/2014/main" id="{8857EF4B-5835-42E0-AFB1-B8EC89BCE9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 rot="16200000">
            <a:off x="269653" y="3475004"/>
            <a:ext cx="479907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177579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3_10 Lane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7" name="think-cell Slide" r:id="rId105" imgW="360" imgH="360" progId="TCLayout.ActiveDocument.1">
                  <p:embed/>
                </p:oleObj>
              </mc:Choice>
              <mc:Fallback>
                <p:oleObj name="think-cell Slide" r:id="rId10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3922713"/>
            <a:ext cx="11730037" cy="5048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1900238"/>
            <a:ext cx="11730037" cy="50641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8507BD-FB74-4D5A-AE4D-36E33E253E40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284163" y="4932363"/>
            <a:ext cx="11730037" cy="50641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968B50-A7E2-4292-9B5A-6555C4482AF4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284163" y="5943600"/>
            <a:ext cx="11730037" cy="50641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8195978-4248-4910-9A75-04356CE1721E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284163" y="2911475"/>
            <a:ext cx="11730037" cy="5048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E9770D5-5CD9-4C43-A300-172B097628D1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735014" y="982663"/>
            <a:ext cx="284321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BF0DFD-E272-4E7E-933A-82534E2730F3}" type="datetime'''''''''2''''''''''''''''''''0''''''''''''2''2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B3E22217-082F-4128-9E93-6C8C67444CB2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3578225" y="982663"/>
            <a:ext cx="8435975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2EC7794-E34B-4694-BDF5-39C65BED5830}" type="datetime'''2''''''''''''0''''''''2''''''''''''''''3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DEB4B96B-E5B1-4B34-8A9E-0E945CFB9E79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735013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A034279-0D1C-4CC2-85A6-F4CD379F3B7E}" type="datetime'''''O''''''''''''''''''''''''''''c''''''t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AB402E88-9A75-4A7D-91B0-886A39CD1734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169227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126E3FA-F68F-4F11-9D19-BF68308BAF34}" type="datetime'''''''''''''''''No''''''v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C64542CD-35E0-45D1-AE03-14107123E94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26193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B3AF9AA-5394-483B-A4FA-DC6266512CC2}" type="datetime'''''''''''''D''''e''''''''''''''''''''''''''''''c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0EA86F07-C5CC-49FF-B7C1-DE8DDC0979A9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3578225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148AD9C-4A43-4CF8-9A7C-105A3ED6E455}" type="datetime'''J''''''''''a''''''''n''''''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BB926514-3E52-40D2-AC95-2C3F0F5F3618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4535488" y="1133475"/>
            <a:ext cx="86518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979520F-5A82-4AE3-8B78-5510A7EB64A9}" type="datetime'''''F''''e''''''''''''b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B4C5035A-0623-4613-8D6F-B62DC2D1380C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54006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F2FEAAC-29FF-4672-8D3D-718F6F07AD1D}" type="datetime'''''''''''''''''''''M''''''a''r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1FECCB2A-677D-4727-B12B-1B33F57F756C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6359525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59A9D34-212A-4A19-B7B9-6A41B881BC32}" type="datetime'A''''''''''''''''''''''''''p''''''''''''r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6FE59F59-5081-4E6A-A70B-926C463BE5C7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7286625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F1D879-31A7-467D-A0C3-D354A225DB0C}" type="datetime'''''''''Ma''''''''''''''''''y''''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2BC521B5-D5D4-4D81-9C5E-AAAD64019812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8243888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3C7BC45-114A-4907-9021-762283DE789D}" type="datetime'''J''''''''''''''''''''''''''''''''''''u''''''n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77509C84-5887-44D4-B987-14262C0BCB80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9170988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5DB8AC9-848F-4AC9-90E0-82BF0270AD68}" type="datetime'''''''''''''''''''''Ju''''''''''''l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B31D8478-32D1-4B4B-9AC1-E55C7F195CC6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10129838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052A809-523D-48C7-B92E-6BC2C958A12A}" type="datetime'''''''''''''''''''''''A''''''''''''''''u''g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93D29F38-2DAC-46AF-B5B3-51F172AC78E3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11087100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E6A2521-CD05-458E-8935-B54D6FC48818}" type="datetime'''S''''''''e''''''''''''''''''''''p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8E3D62CD-3CF4-4422-B78C-158839D2B120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735013" y="1284288"/>
            <a:ext cx="301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8C891DEE-ABD7-490A-9C9C-93D5677D1FA6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7651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B0BCF64-240D-4BC4-8133-6F4001D5E5D6}" type="datetime'0''''''''''''''''''''''2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1B3AB5BE-5D00-4E94-98A3-59F02AC76474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9826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649B6C7-3E28-4FF0-A75D-0F1EB3BFA8C6}" type="datetime'''''''''''''''''''''''''''''''''''''''''''''''''0''''''''''9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58ADC666-9AA7-408F-B333-4EE071A8939B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11985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3E78513-DF57-48F9-A09D-1C76484B6820}" type="datetime'''''''1''''''''6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188C6617-ABCB-4A33-8CD9-A5ADD65DD1C2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14144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A11317D-56C1-4002-9940-8C8CE82CC995}" type="datetime'''''2''''''''''''''''''''''''''''''3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773C8880-791D-4708-991C-C2FDCA61CACD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16319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47D1889-388C-400B-B77A-E3F67068ADEE}" type="datetime'''''''''''''''''''''''''''''''''''''''''''''''30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0061A3BC-71AD-413B-A1A5-06B89B69AF45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18478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BBDBBB8-95BE-43CD-A80F-DCB0E918D0DB}" type="datetime'''''''''0''''6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FA662229-D297-43DC-B497-A3E21078F013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0637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6228EE0-9995-426F-B481-CC5AA5162B5C}" type="datetime'''''''''1''''''''''''''''''''3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7341E671-5424-4322-B847-622A0BE05142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22796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C9276AA-D79C-46BB-8502-5308B17578FE}" type="datetime'''''''''''''''''''''''''''''''''''2''''''''''''''''''''''0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BE441894-2BF1-4038-AF76-46877C32DB48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24971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936B8EB-5EA2-45A5-83A0-882269CE00E8}" type="datetime'''''''''''''''''27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F41CA2F4-8207-408F-A5F1-08E149D699EE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27130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796AEB2-D885-4985-A98B-7BD51BB70087}" type="datetime'''''''''''''''''''''''''''''''0''''4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85079A86-96FC-4AE3-A7DE-FFE453E48E8C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29289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25392E6-D8D9-461E-A057-CDADE0E69A83}" type="datetime'''''''''''''''''''''''''''''''1''''''''''''''''''1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8061CF8E-E48E-4313-AE58-578494D08E90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1448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62E6B5B-5BD6-4CAA-B51F-1DB82CF541A3}" type="datetime'''''''''''''''''''''''''''''''''''''''''''18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757948A5-A23F-46DF-B405-060D3015F145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33623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0D8D9D3-3D65-482E-AFFA-A3ED8FD62E95}" type="datetime'''''''''''''''2''''''''''5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49FC942C-5816-4C30-8197-1D95AD586897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35782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95A1E0F-2423-430F-9BC2-3735D9233FEB}" type="datetime'''''''''''''0''''''''''''''''''1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3170E677-14F4-49DC-9BD6-B79A896A65D4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37941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3DC5FA-5CD1-4737-ADE5-0193DEED394E}" type="datetime'''''''''''''''''''''''''''''''''''''''''''''0''''''''8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ABAEB754-4AC7-4B20-8302-AB6D8DC5C3ED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0100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318CFC2-CA10-4A87-9B11-B7EBE2B84549}" type="datetime'''''''''''''''''''''1''''''5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27D57B85-9D54-4F1A-A1E6-8D2D409EEFAA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42275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8105FB1-71E6-45F1-9152-0980076AA5A0}" type="datetime'''''''''2''2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37F697DF-DF37-4C23-AB1C-762E0B7165FF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44434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1EC2D86-D7DD-4652-875E-EA8C2D774B78}" type="datetime'''''''''''''''''''''''''''2''''9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DA48CB0F-E17E-48BE-8718-ECDD4D564172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46593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5F04C24-D3E5-4C89-8934-FAE6D32AEB4B}" type="datetime'''''''0''''''''''''''5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40075DB5-2896-4D6A-BE5D-C12D08A5BFA0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48752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6BB2250-1F2C-492F-8162-16AC95DD5344}" type="datetime'''''''''''''''''1''''''''''''''''''''''''''2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5428CA6F-DD3F-4D95-BFFD-11B32EF56741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0927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02D1C3D-0159-4411-86EA-83AA54985280}" type="datetime'''''''''1''''''9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000BD712-DB10-489C-ABBC-97576DD21FBA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53086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A4526E6-7F0D-4ABE-B048-DF411EA8B6AC}" type="datetime'''''2''''''''''''''''''''''''''''''''''''6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F579B51E-5D30-4409-84D5-1546859E14F9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55245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F4FCEBE-325A-40B1-BB4A-6DD3D0A70659}" type="datetime'''''''''''''''''0''5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E26F2D88-1FDD-4A63-BC9A-0159B8ABB370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574040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7B64EA6-6FB3-45CB-A5F8-487192226E5A}" type="datetime'''''''''''''''''''''''''''''''''''1''''2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A3CA74AE-0E42-4D22-9D5C-5499AE986931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59578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0BC26C5-63A0-44AD-816E-E9927E5A5410}" type="datetime'''''''''''''1''''''''9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6D492035-7876-4540-8E8F-CF97AC61CF2A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61737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1C7F69C-EEEA-4128-913C-10F3E23371EE}" type="datetime'''''''''''''''''''''''''''''''''''''''2''6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E489C001-EBCF-4C9D-A2A6-C8F7538F5F71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63896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0A679D5-9007-4C3A-ABCE-D5A09A1C90E7}" type="datetime'0''''''''''''''''''''''''''2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5BF5FD5B-80D3-45B2-B46A-C3764C46F84B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66055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439ACE8-B243-4EF5-90FF-B7AACA3E3827}" type="datetime'''''''''''0''''''''9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5566BACD-D13C-4AA6-AF22-482EE0A70E25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68230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6890D32-597F-476B-83AD-7730BEA9A753}" type="datetime'''''1''''''''''''''''''''''''''''6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69838DDE-5948-4EB3-BB04-642F7E3DF2DE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0389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E2E5321-600D-4EA3-8BFC-8F2F3DB4F3F9}" type="datetime'''''''''''''''''2''''3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9916193F-F611-4E3F-8D6F-3612BC13B547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72548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6093E5E-57F6-44B6-B40B-F8423419238A}" type="datetime'''''''''3''''''''''''''''''''''''0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6744FE62-465F-4A2C-B2A8-D624DE4948C4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74723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F3DC198-A2EF-427D-9588-02B570DCEC1A}" type="datetime'''''''''''''''''''0''''7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617C5E42-34B6-47EA-9F6F-4FE2FF59F3C1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76882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63949A5-22D8-4E53-B7EF-F3EF9ECAE91C}" type="datetime'''''''1''4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8EDE6F19-EBEC-40FD-A4EF-B66F957165AA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79041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E524207-8640-4F55-871C-38FB4DDA6FB9}" type="datetime'''''''''''''''''''''''''''''''''''''''''''2''''''''''1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91F3C1C8-FB41-405C-9198-07472DBFD928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12006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B3B86BE-4782-44E0-9F72-6CE9751891F8}" type="datetime'''''2''''''''''''''''8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2A708CA-778E-47FA-9DD6-DB95C8ADDDBC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83375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9409763-13B3-444E-8C49-0284AE24E38A}" type="datetime'''''''''''0''''''''''''''''''4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8E425E6F-B8DF-411A-991C-3130D49CC96C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85534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E6B8A15-7FFA-41C0-BDA9-93FA3466B491}" type="datetime'''1''1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C6F94B48-2772-4449-A64D-57AD5674FDC9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87693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6B31BD-6E1F-4CC3-AC76-15356FC3EE16}" type="datetime'''''''''''''''''''''''''''''''''''''''''''''1''''''''''''8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96567986-EBBA-435C-AD48-349C14CC5C4D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8985250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C110A72-0126-4E20-99C2-2CF6A8618628}" type="datetime'''''''''''''''''''''''''''''''''''2''''''''''''''''''5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4114BC79-BA78-4E93-8B2F-379A86AAAD05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92027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FDE8B2C-6B56-4CC8-A390-2870F225DB7E}" type="datetime'''''''''''''''''''''''''''''''''''''''0''''''''''2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E2D7DBEF-D743-4660-BE90-C13734EF5EC2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94186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5A69E52-0309-48FA-A3CD-ABC04D67B2B0}" type="datetime'''''''''''''''''''''''''''''''''''''''''''0''9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BA47E0B3-875C-438F-AD64-D60DE2194AB6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96345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8172922-709A-4DF8-B768-3F3BC2D5E64C}" type="datetime'''''''''''''''''''''''16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6511C341-92C7-4FAA-8402-EDC085CFD92E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985043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E072755-5100-40A2-86DE-D18F1CA634BD}" type="datetime'''''''''''''''''''''''''''''''2''''''''''''''''''''3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779AAC5A-382C-48E7-BDE2-8F0D006D9E72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0679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C528B24-E528-41E5-BE02-128CD954CD61}" type="datetime'''''''''''''''''''''''3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386106CB-9DA4-42DF-8FDE-7C70EC4789C2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02838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8E1777C-A5CB-44C7-A6A0-D106E8B8A56E}" type="datetime'''0''''''''''''''''''6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C7F59304-8123-44FC-A1AD-0FA62EB95788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04997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A7342B0-020A-4495-8C3E-B0489A912537}" type="datetime'1''''''''''''''''''''''''''''''''''3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BFFB0E04-328E-4970-B7CE-BFC0ABB8A8E7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07156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D6939CC-3933-4E9C-9145-B79898F17D5A}" type="datetime'''''''''''2''''''''''''''''''''''''''''''''''0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4958F243-3E87-47FD-A680-40FF57E58EDB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09331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61E4308-DF37-4FEF-957D-C0A05033E5C3}" type="datetime'''''''''''''2''''''''''''''''''7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43737569-529E-4A3A-9D1C-69BB4B7E73FD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111490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DFF528A-43E7-4462-AC9E-2F58C4222B63}" type="datetime'''''''''''''''''''0''''''''''''''''''''''''''3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C53F6EC9-0799-4312-A6CE-69D3E1B1B8B9}"/>
              </a:ext>
            </a:extLst>
          </p:cNvPr>
          <p:cNvSpPr/>
          <p:nvPr userDrawn="1">
            <p:custDataLst>
              <p:tags r:id="rId73"/>
            </p:custDataLst>
          </p:nvPr>
        </p:nvSpPr>
        <p:spPr bwMode="auto">
          <a:xfrm>
            <a:off x="113649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62E581A-8C54-4436-B43B-DDFBF390DA06}" type="datetime'''''''''''''''''''''1''''''''''''''''''''''''''0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14436B8E-0900-45A4-9AC9-581528FBD414}"/>
              </a:ext>
            </a:extLst>
          </p:cNvPr>
          <p:cNvSpPr/>
          <p:nvPr userDrawn="1">
            <p:custDataLst>
              <p:tags r:id="rId74"/>
            </p:custDataLst>
          </p:nvPr>
        </p:nvSpPr>
        <p:spPr bwMode="auto">
          <a:xfrm>
            <a:off x="115808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0DFBC83-51B5-4C9A-90CE-4E85010C287B}" type="datetime'''''''''1''''''''''''''''''''''''''''''7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6930780D-7576-459B-B0E1-C3B2B2F0FA35}"/>
              </a:ext>
            </a:extLst>
          </p:cNvPr>
          <p:cNvSpPr/>
          <p:nvPr userDrawn="1">
            <p:custDataLst>
              <p:tags r:id="rId75"/>
            </p:custDataLst>
          </p:nvPr>
        </p:nvSpPr>
        <p:spPr bwMode="auto">
          <a:xfrm>
            <a:off x="117983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1240775-D477-4F80-9C84-FB6E0AD7CC87}" type="datetime'''''''''''''''''''''''''''''2''''4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73501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12014200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28416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C5FDFC7-3C6E-4869-A8FF-DD4CB7B6DA11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11087100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509C8DE-4A14-4160-8D99-94FD2EFF9224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54006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16922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26193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35782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2EAF789-ACE5-4CBB-9C94-E272C112CC04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45354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F9AA264-A1D0-440F-B28A-205297A15306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63595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6779282-F4FD-41AC-B2D5-20F114D6B7D0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72866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BA47F35-58A5-4487-B841-9C9E2908D5FC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82438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EC9B233-2FA8-4B7B-B7B4-1B498AE200DF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91709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A447DAF-E931-4273-A757-780BE0B7A3CC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101298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CC8AC96-2027-4A51-8557-F6B5370F0BDA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4932363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392271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92"/>
            </p:custDataLst>
          </p:nvPr>
        </p:nvCxnSpPr>
        <p:spPr bwMode="auto">
          <a:xfrm>
            <a:off x="284163" y="341630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93"/>
            </p:custDataLst>
          </p:nvPr>
        </p:nvCxnSpPr>
        <p:spPr bwMode="auto">
          <a:xfrm>
            <a:off x="284163" y="190023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B04F9EE-FF13-48A1-B04E-59906AE3CC02}"/>
              </a:ext>
            </a:extLst>
          </p:cNvPr>
          <p:cNvCxnSpPr/>
          <p:nvPr userDrawn="1">
            <p:custDataLst>
              <p:tags r:id="rId94"/>
            </p:custDataLst>
          </p:nvPr>
        </p:nvCxnSpPr>
        <p:spPr bwMode="auto">
          <a:xfrm>
            <a:off x="284163" y="2406650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03DEA77-F9F2-4BB8-8F19-E0957396590F}"/>
              </a:ext>
            </a:extLst>
          </p:cNvPr>
          <p:cNvCxnSpPr/>
          <p:nvPr userDrawn="1">
            <p:custDataLst>
              <p:tags r:id="rId95"/>
            </p:custDataLst>
          </p:nvPr>
        </p:nvCxnSpPr>
        <p:spPr bwMode="auto">
          <a:xfrm>
            <a:off x="284163" y="5943600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96"/>
            </p:custDataLst>
          </p:nvPr>
        </p:nvCxnSpPr>
        <p:spPr bwMode="auto">
          <a:xfrm>
            <a:off x="284163" y="442753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2638BB0-F93A-46D7-9D19-DDEA36CF4EC3}"/>
              </a:ext>
            </a:extLst>
          </p:cNvPr>
          <p:cNvCxnSpPr/>
          <p:nvPr userDrawn="1">
            <p:custDataLst>
              <p:tags r:id="rId97"/>
            </p:custDataLst>
          </p:nvPr>
        </p:nvCxnSpPr>
        <p:spPr bwMode="auto">
          <a:xfrm>
            <a:off x="284163" y="5438775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D7CC964-458D-40DA-960C-745D0D3B2972}"/>
              </a:ext>
            </a:extLst>
          </p:cNvPr>
          <p:cNvCxnSpPr/>
          <p:nvPr userDrawn="1">
            <p:custDataLst>
              <p:tags r:id="rId98"/>
            </p:custDataLst>
          </p:nvPr>
        </p:nvCxnSpPr>
        <p:spPr bwMode="auto">
          <a:xfrm>
            <a:off x="284163" y="2911475"/>
            <a:ext cx="1173003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9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100"/>
            </p:custDataLst>
          </p:nvPr>
        </p:nvCxnSpPr>
        <p:spPr bwMode="auto">
          <a:xfrm>
            <a:off x="284163" y="13954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101"/>
            </p:custDataLst>
          </p:nvPr>
        </p:nvSpPr>
        <p:spPr bwMode="auto">
          <a:xfrm>
            <a:off x="325438" y="1263650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102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103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3" name="Text Placeholder 4">
            <a:extLst>
              <a:ext uri="{FF2B5EF4-FFF2-40B4-BE49-F238E27FC236}">
                <a16:creationId xmlns:a16="http://schemas.microsoft.com/office/drawing/2014/main" id="{67EAB526-29E1-4165-87FC-5211E6FAF2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6200000">
            <a:off x="269652" y="1454776"/>
            <a:ext cx="479907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0" name="Text Placeholder 4">
            <a:extLst>
              <a:ext uri="{FF2B5EF4-FFF2-40B4-BE49-F238E27FC236}">
                <a16:creationId xmlns:a16="http://schemas.microsoft.com/office/drawing/2014/main" id="{32353348-4333-4D28-AB20-CEC345467D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 rot="16200000">
            <a:off x="269652" y="2464890"/>
            <a:ext cx="479907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2B952BBE-03D0-45EA-BB1B-6C2027C300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 rot="16200000">
            <a:off x="269652" y="2969947"/>
            <a:ext cx="479907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D17FE071-6A43-451A-A3CC-B74AA7AD6E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16200000">
            <a:off x="269652" y="3980061"/>
            <a:ext cx="479907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54ED0DC0-1EC3-4338-80C7-DDB2F97E12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 rot="16200000">
            <a:off x="269652" y="4485118"/>
            <a:ext cx="479907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51" name="Text Placeholder 4">
            <a:extLst>
              <a:ext uri="{FF2B5EF4-FFF2-40B4-BE49-F238E27FC236}">
                <a16:creationId xmlns:a16="http://schemas.microsoft.com/office/drawing/2014/main" id="{FCD70E19-EECF-496B-9A6D-E517C59AB3D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269652" y="4990175"/>
            <a:ext cx="479907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52" name="Text Placeholder 4">
            <a:extLst>
              <a:ext uri="{FF2B5EF4-FFF2-40B4-BE49-F238E27FC236}">
                <a16:creationId xmlns:a16="http://schemas.microsoft.com/office/drawing/2014/main" id="{F55DCF24-4DEC-4290-BDAD-A339242C2EF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rot="16200000">
            <a:off x="269652" y="5495232"/>
            <a:ext cx="479907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68" name="Text Placeholder 4">
            <a:extLst>
              <a:ext uri="{FF2B5EF4-FFF2-40B4-BE49-F238E27FC236}">
                <a16:creationId xmlns:a16="http://schemas.microsoft.com/office/drawing/2014/main" id="{02F6309D-1791-4B82-B0A6-F5BA786EBC7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6200000">
            <a:off x="269652" y="6000289"/>
            <a:ext cx="479907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49" name="Text Placeholder 4">
            <a:extLst>
              <a:ext uri="{FF2B5EF4-FFF2-40B4-BE49-F238E27FC236}">
                <a16:creationId xmlns:a16="http://schemas.microsoft.com/office/drawing/2014/main" id="{E8BF99FF-E4EC-418E-84BA-4F0F8C3DB8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6200000">
            <a:off x="269652" y="1959833"/>
            <a:ext cx="479907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50" name="Text Placeholder 4">
            <a:extLst>
              <a:ext uri="{FF2B5EF4-FFF2-40B4-BE49-F238E27FC236}">
                <a16:creationId xmlns:a16="http://schemas.microsoft.com/office/drawing/2014/main" id="{8857EF4B-5835-42E0-AFB1-B8EC89BCE9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 rot="16200000">
            <a:off x="269653" y="3475004"/>
            <a:ext cx="479907" cy="398988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4086262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EC25962-96E5-44A4-8763-2DBED4A8A3F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939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789198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/>
          <a:srcRect r="72206"/>
          <a:stretch/>
        </p:blipFill>
        <p:spPr>
          <a:xfrm>
            <a:off x="5437233" y="2951505"/>
            <a:ext cx="1317534" cy="954991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B69876-9785-4BC5-A491-B850EB1E09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6" name="Rectangle 1027">
            <a:extLst>
              <a:ext uri="{FF2B5EF4-FFF2-40B4-BE49-F238E27FC236}">
                <a16:creationId xmlns:a16="http://schemas.microsoft.com/office/drawing/2014/main" id="{1F51A78B-63EC-4994-84DA-7D57D2FCF7F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2962191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3222F8-89CC-41BB-892A-1C7BF119B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0AD263-7BAA-40AA-87D4-5CB5E4B7A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674163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pt-BR" sz="1020" b="0" i="0" baseline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628253" y="1914726"/>
            <a:ext cx="4740388" cy="954991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628254" y="3449113"/>
            <a:ext cx="8840220" cy="3751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8" name="Rectangle 1027"/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86B6AC-D72B-46FF-9365-159E21B307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7630" y="3840458"/>
            <a:ext cx="8840220" cy="215444"/>
          </a:xfrm>
        </p:spPr>
        <p:txBody>
          <a:bodyPr/>
          <a:lstStyle>
            <a:lvl3pPr marL="111125" indent="0">
              <a:buNone/>
              <a:defRPr sz="1400">
                <a:solidFill>
                  <a:schemeClr val="accent4"/>
                </a:solidFill>
              </a:defRPr>
            </a:lvl3pPr>
          </a:lstStyle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418742269"/>
      </p:ext>
    </p:extLst>
  </p:cSld>
  <p:clrMapOvr>
    <a:masterClrMapping/>
  </p:clrMapOvr>
  <p:transition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5581075C-DEF6-4E49-AF49-8CAE8D080A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6523272"/>
            <a:ext cx="22914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800" b="0" kern="0"/>
              <a:t>Transformatio</a:t>
            </a:r>
            <a:r>
              <a:rPr lang="en-US" sz="800" b="0" kern="0" baseline="0"/>
              <a:t>n Management Office </a:t>
            </a:r>
            <a:endParaRPr lang="en-US" sz="800" b="0" kern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1BC6E2-5FE9-4B3A-A15B-F74A5F0A38A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9" name="2. Slide Title">
            <a:extLst>
              <a:ext uri="{FF2B5EF4-FFF2-40B4-BE49-F238E27FC236}">
                <a16:creationId xmlns:a16="http://schemas.microsoft.com/office/drawing/2014/main" id="{F41F733B-0C30-43D8-995A-3DED0D4AB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2037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2" pos="7536">
          <p15:clr>
            <a:srgbClr val="FBAE40"/>
          </p15:clr>
        </p15:guide>
        <p15:guide id="3" orient="horz" pos="576">
          <p15:clr>
            <a:srgbClr val="FBAE40"/>
          </p15:clr>
        </p15:guide>
        <p15:guide id="4" orient="horz" pos="4032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1BC6E2-5FE9-4B3A-A15B-F74A5F0A38A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9" name="2. Slide Title">
            <a:extLst>
              <a:ext uri="{FF2B5EF4-FFF2-40B4-BE49-F238E27FC236}">
                <a16:creationId xmlns:a16="http://schemas.microsoft.com/office/drawing/2014/main" id="{F41F733B-0C30-43D8-995A-3DED0D4AB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graphicFrame>
        <p:nvGraphicFramePr>
          <p:cNvPr id="8" name="Group 37">
            <a:extLst>
              <a:ext uri="{FF2B5EF4-FFF2-40B4-BE49-F238E27FC236}">
                <a16:creationId xmlns:a16="http://schemas.microsoft.com/office/drawing/2014/main" id="{2AD52117-0CA8-457A-9CD5-0942B3F93B3D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17178166"/>
              </p:ext>
            </p:extLst>
          </p:nvPr>
        </p:nvGraphicFramePr>
        <p:xfrm>
          <a:off x="222477" y="862704"/>
          <a:ext cx="11725484" cy="5254747"/>
        </p:xfrm>
        <a:graphic>
          <a:graphicData uri="http://schemas.openxmlformats.org/drawingml/2006/table">
            <a:tbl>
              <a:tblPr firstRow="1" lastRow="1"/>
              <a:tblGrid>
                <a:gridCol w="58591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663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3875">
                <a:tc>
                  <a:txBody>
                    <a:bodyPr/>
                    <a:lstStyle/>
                    <a:p>
                      <a:pPr marL="0" indent="0" algn="ctr" defTabSz="913526" rtl="0" eaLnBrk="1" fontAlgn="base" hangingPunct="1"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05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Key milestones/ activities completed (last 60 days)</a:t>
                      </a:r>
                    </a:p>
                  </a:txBody>
                  <a:tcPr marL="45720" marR="45720" marT="0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3526" rtl="0" eaLnBrk="1" fontAlgn="base" latinLnBrk="0" hangingPunct="1"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050" b="1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Upcoming key milestones/ activities (next 60 days)</a:t>
                      </a:r>
                    </a:p>
                  </a:txBody>
                  <a:tcPr marL="45720" marR="45720" marT="0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7417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kumimoji="0" 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4138" algn="l"/>
                        </a:tabLst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8695">
                <a:tc>
                  <a:txBody>
                    <a:bodyPr/>
                    <a:lstStyle/>
                    <a:p>
                      <a:pPr marL="0" marR="0" lvl="0" indent="0" algn="ctr" defTabSz="913526" rtl="0" eaLnBrk="1" fontAlgn="base" latinLnBrk="0" hangingPunct="1">
                        <a:lnSpc>
                          <a:spcPct val="95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1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Risks/ Issues &amp; mitigation plan</a:t>
                      </a:r>
                    </a:p>
                  </a:txBody>
                  <a:tcPr marL="45720" marR="4572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526" rtl="0" eaLnBrk="1" fontAlgn="base" latinLnBrk="0" hangingPunct="1">
                        <a:lnSpc>
                          <a:spcPct val="95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1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ecision support required</a:t>
                      </a:r>
                    </a:p>
                  </a:txBody>
                  <a:tcPr marL="45720" marR="4572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74760">
                <a:tc>
                  <a:txBody>
                    <a:bodyPr/>
                    <a:lstStyle/>
                    <a:p>
                      <a:pPr marL="171450" marR="0" lvl="1" indent="-17145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4138" algn="l"/>
                        </a:tabLst>
                        <a:defRPr/>
                      </a:pPr>
                      <a:endParaRPr lang="en-US" sz="1200" b="0" u="none" kern="1200" baseline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45720" marR="45720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4138" algn="l"/>
                        </a:tabLst>
                        <a:defRPr/>
                      </a:pPr>
                      <a:endParaRPr lang="en-US" sz="1200" b="0" u="none" kern="1200" baseline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45720" marR="45720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9A5390-954B-4D7A-BECE-C936C58846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4039" y="1266538"/>
            <a:ext cx="5724525" cy="3276887"/>
          </a:xfrm>
        </p:spPr>
        <p:txBody>
          <a:bodyPr>
            <a:normAutofit/>
          </a:bodyPr>
          <a:lstStyle>
            <a:lvl1pPr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1pPr>
          </a:lstStyle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BBC1210-18F9-4A4E-B7A6-674E672A5C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1266537"/>
            <a:ext cx="5724525" cy="3276887"/>
          </a:xfrm>
        </p:spPr>
        <p:txBody>
          <a:bodyPr>
            <a:normAutofit/>
          </a:bodyPr>
          <a:lstStyle>
            <a:lvl1pPr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1pPr>
          </a:lstStyle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07355C1-874A-4F38-BEC1-722699B34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4039" y="4964672"/>
            <a:ext cx="5724525" cy="1152780"/>
          </a:xfrm>
        </p:spPr>
        <p:txBody>
          <a:bodyPr>
            <a:normAutofit/>
          </a:bodyPr>
          <a:lstStyle>
            <a:lvl1pPr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1pPr>
          </a:lstStyle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9CC6A45-3951-43FB-9A7E-CB7DD323B2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0" y="4961986"/>
            <a:ext cx="5851961" cy="1152780"/>
          </a:xfrm>
        </p:spPr>
        <p:txBody>
          <a:bodyPr>
            <a:normAutofit/>
          </a:bodyPr>
          <a:lstStyle>
            <a:lvl1pPr>
              <a:spcBef>
                <a:spcPts val="300"/>
              </a:spcBef>
              <a:buFont typeface="Arial" panose="020B0604020202020204" pitchFamily="34" charset="0"/>
              <a:buChar char="•"/>
              <a:defRPr sz="1100"/>
            </a:lvl1pPr>
          </a:lstStyle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  <a:p>
            <a:pPr lvl="0"/>
            <a:r>
              <a:rPr lang="en-US" dirty="0"/>
              <a:t>Click to add</a:t>
            </a:r>
          </a:p>
        </p:txBody>
      </p:sp>
    </p:spTree>
    <p:extLst>
      <p:ext uri="{BB962C8B-B14F-4D97-AF65-F5344CB8AC3E}">
        <p14:creationId xmlns:p14="http://schemas.microsoft.com/office/powerpoint/2010/main" val="1491895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2" pos="7536">
          <p15:clr>
            <a:srgbClr val="FBAE40"/>
          </p15:clr>
        </p15:guide>
        <p15:guide id="3" orient="horz" pos="576">
          <p15:clr>
            <a:srgbClr val="FBAE40"/>
          </p15:clr>
        </p15:guide>
        <p15:guide id="4" orient="horz" pos="4032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3" name="think-cell Slide" r:id="rId97" imgW="360" imgH="360" progId="TCLayout.ActiveDocument.1">
                  <p:embed/>
                </p:oleObj>
              </mc:Choice>
              <mc:Fallback>
                <p:oleObj name="think-cell Slide" r:id="rId97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2406649"/>
            <a:ext cx="11730037" cy="101123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4427537"/>
            <a:ext cx="11730037" cy="101123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4F5D80E-9E02-4482-83CB-2404BC67303B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735013" y="982664"/>
            <a:ext cx="4727575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2433840-AD7E-4B47-9B96-F74EAF03499E}" type="datetime'2''''''''''''''''''''''''''''0''''''2''''''1'''''''''''''">
              <a:rPr kumimoji="0" lang="en-US" altLang="en-US" sz="800" b="1" i="0" u="none" kern="0" cap="none" spc="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E9770D5-5CD9-4C43-A300-172B097628D1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5462589" y="982663"/>
            <a:ext cx="6551613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BF0DFD-E272-4E7E-933A-82534E2730F3}" type="datetime'''''''''2''''''''''''''''''''0''''''''''''2''2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938FFDD9-B2F3-4A20-BF65-CE4A77860976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735013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CF3A17C-C849-4893-92B3-818F03CF8B85}" type="datetime'''A''''''''''''''''u''''''''''''''''''''''''g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8B27CEA3-6517-4334-AF85-935C6835CA82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1692274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D00D94B-9F80-4AB7-9F74-44C85DDE1710}" type="datetime'''''''''''''''''''''''''''''''''''S''e''''''p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EBFE408D-73FC-40D4-8FB8-381F5EAB151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2619375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C27CF4C-5AF8-4478-B517-4C3208B779D0}" type="datetime'''O''''''''''''''''''''''''''''''''c''''''t''''''''''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EB6CA133-0CF4-43B4-B0F6-FE4B9EFFD4C4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3578224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A410E14-1F1A-4F54-BE7A-E0263D41876C}" type="datetime'''''''''''''''N''''''''''''''''''''''o''''''''v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9407217E-0972-4D83-8AF5-2B8088A70EDF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4505325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54826CB-AE79-4DB4-8929-D567BAAD8E69}" type="datetime'''''''D''''''''''''''''''''''''''''''''''''e''''''''''c'''''">
              <a:rPr lang="en-US" altLang="en-US" sz="800" b="1" u="none" cap="none" baseline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24E0AED3-28EC-4D7A-A5FA-15F1ED1D787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5462588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4D0C2CE-5E75-485B-BE7C-95023B35514B}" type="datetime'J''''''''''''''''''''''a''''''''n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53AE903C-7A7D-4E2B-B84D-DF72BA8646B9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6421437" y="1133475"/>
            <a:ext cx="86518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14E7F22-1388-4C02-8C57-145DAFAA0724}" type="datetime'''''''''''''Feb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3E31B610-0A93-4059-AC37-D0408841205D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7286625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03B750B-1DA8-4711-9F72-DABD8E0A5867}" type="datetime'''M''''''''''''''''''''''''''ar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0F81C145-2690-4C94-8454-8AA21CEB3334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8243887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E2DD7EE-F686-4C6A-B8EC-2CDC3C3599CA}" type="datetime'''''''''''''''''''A''''''''''''''''p''''''''r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BB989622-68CA-469E-B3CF-6CE2E896CF4A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9170988" y="1133475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52EF1F3-DC74-4B3F-B72C-7FE50606F30B}" type="datetime'''''''M''''''a''''''''''''y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427BAAC6-BA67-4FA9-ABB6-5BA526564948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10129837" y="1133475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CDB3BBD-926C-4DA3-973F-8E1FFFD45C61}" type="datetime'''''''''''''''''''''J''''''''''''u''''''''n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0A123007-420C-40AD-8DFF-BE9525D2CD8B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11056938" y="1133475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DCC2C1-E93C-498F-9859-6879A8DC1BC0}" type="datetime'''J''''''''''''''''u''''''''''''''''''''''''''''''l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B1440AD-E76C-451A-8ECF-A3FEEF159094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73501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7A1737-351F-425F-93A0-02668152598B}" type="datetime'''''''''''''''''''''''''''''0''''''1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77E81C4-C3D6-4FF3-9F35-9DB029CB8F0B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950913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5D6275-9852-479C-A6A2-3E87DA6EA12C}" type="datetime'''''''''''''''''''0''''''''8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7B908E5-F6DF-4C67-8917-2C7ACC944E81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1168399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C71F315-4F46-4A9C-98C4-3915878B0A5E}" type="datetime'''''15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ADABC51-BC1E-43EA-AEC0-7D11281FBDE0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13843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871F20-DF82-4636-831C-AD230763F6E5}" type="datetime'''''''''''''''''22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FD04432-6E42-4FEB-ACF4-F3336E83A2DD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600199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93E7EAB-11C9-47AA-8F53-F4339BD7AE64}" type="datetime'''''''''2''''''''''''''''''9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908F446-7F29-490F-8545-2C5ECF3CF6A4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816099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4126299-6257-4554-843E-48F851838D61}" type="datetime'''''0''''''''5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394E4E2-57C0-4D16-A403-AA4E711104B7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20335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E8549C2-BF6A-4FF6-A3E8-22AE9F6D6DF5}" type="datetime'''''''''''''''''''''''''''''''1''''''''''''''''''''''''''''2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EA85EAF-69AE-4938-8EF0-5ABABEAA3B62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2249487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9FC7326-2AF8-4C2C-8811-F14C5D89844C}" type="datetime'''''''''''''''''''1''''9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4F2E1BC-2DA4-41F5-B673-A5E183D5C4A1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24653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60E9EE0-AD90-4B03-8984-64F49DBE5753}" type="datetime'''''''2''''''''''''''''''''''6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D0F6053-7197-4003-A64F-7595CD4744B4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681287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0E20E33-6007-457F-945F-F8338C13F7CE}" type="datetime'''0''''''''''3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FBF83CD9-0761-438E-91FA-FE8F70F8EFD7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89877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34B8236-8157-4398-A7F6-EBB71091228A}" type="datetime'1''''''''''''''''''''''''''0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F64D294-CB01-49B3-A8D3-91D1FD9599B1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31146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E1ED04C-3CA0-49FB-959E-F4D001C7F338}" type="datetime'''''1''''''''''''''''''''7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4B0F1C09-68C5-463E-9440-35932BBD67A7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333057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2BA709C-7231-4EFB-B430-479F4A804C66}" type="datetime'''''''''''''''''''''''''''''''''2''''''''''4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F1680E2-BE14-41B6-8132-FF8D8B85FAE9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354647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632459C-EF04-4FE2-A423-4563C45B49C4}" type="datetime'''''''''''''''''''''3''''1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41112A8-48F9-40A9-8447-A0048B7802A1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76396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F55BD91-E39C-49DA-A31B-D7DBA434D33D}" type="datetime'''''''''''''''''''''0''''''''''''7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4161DE0-9451-4D23-8DC0-8E1F5595A8A2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39798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CCEE4BE-0D7C-4E91-A2E9-A974CE9CEA25}" type="datetime'''''''''''''14''''''''''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9965831-83FF-4785-8A40-0F163FCCC871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419576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FFC4A36-3EC2-43E3-B2FB-A9051AC1D484}" type="datetime'2''''''''''1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598CF17-FF90-44C2-9F0E-5787DBF203E0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4411662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C8E6888-23C1-482A-90B7-162E0A7BEF78}" type="datetime'''''''2''''''''''''''''''''''''''''8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6BFEDDD-2EA8-47CF-A1A2-4E62A13334B7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6291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C318539-808B-4707-B949-C7D00C1429AC}" type="datetime'''''''''''0''''''5''''''''''''''''''''''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56E9A06-8D37-4EA4-929C-8702F65AC9CF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845049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E5522A0-7D61-4A91-B2CE-37B1498C79E8}" type="datetime'''''''''''''''''''1''''''''''''2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A71DA790-03ED-474D-B7AC-1C2DF384A624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50609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1B0980-317E-4363-8E8B-3096E3936537}" type="datetime'''''''''''''''''''''1''''''''''9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63D1CB0-4344-4CCE-A71F-4D6366806444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5276849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D4B6546-5D51-4B42-BBDC-8C48FACED03D}" type="datetime'''''''2''''''''''''6'''''''''''''''">
              <a:rPr lang="en-US" altLang="en-US" sz="600" u="none" cap="none" baseline="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4CAC2028-9C2A-47EC-ACE3-836C3C209ABF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5494337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25D4957-3420-4C19-BA02-47AF346A3F6B}" type="datetime'''''''''''''''''''''''''''''0''''''2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D90406D7-E1F7-45A4-B5B7-5B5C26F85ABF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71023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182A2A8-6AB5-4006-8214-3876247B278B}" type="datetime'''''0''''''''''''''''''''9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48D469B5-59EB-44BA-B03B-8440412D96B5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926137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8CB0027-0C01-4E1F-B504-FCA9E5CEB8A5}" type="datetime'''''''''''''''''''''''''''''''''''''''''1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57510D77-2477-4C13-847A-70509DE1A92F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614362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CB908F7-7285-4A11-9F05-466847D65BE1}" type="datetime'''''''2''''''''''''''''''''''3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0E1848B9-D243-4C58-A690-7AF97C892768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635952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A347D1B-23D0-4A37-94A4-6322CA0CF075}" type="datetime'''''''''''''''''''''''''''3''''''''''''''''0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DFC72010-52A5-451F-AEC8-427D76A7A909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657542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E90642-41A3-4A1F-9A98-96023356775A}" type="datetime'''''''''''''''''''''''''''''''''''''''0''''6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E8BF66B7-B3CF-40B0-8F99-BD0A8253DA8B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791325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E1AB55E-8993-4F10-A2AA-AA65A474F140}" type="datetime'''''''''''''''''''''''''''''''''''''1''''''''''3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D60C7969-0036-4F61-A1C5-262AB6A60EAE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700881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7199F7C-C05E-47CB-80DF-EB7EA3B1F9EC}" type="datetime'''''''''''2''''''''''0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8A98E32D-FBD3-4037-BBAA-5CF0284AC7F7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722471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3813206-AC30-4B89-A4CE-B4B50757A3F4}" type="datetime'''''''''''''''''''''''''''''''2''''7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2C24E844-F0DF-4573-9FF3-D369D5663A58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744061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4ADD686-A8E2-43A7-A6C8-54F0775EA46E}" type="datetime'''''''''''0''''6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DB3142C8-89BE-423D-9CE6-7A666CE9B87B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656512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817C0D7-2CD4-4ACF-9720-02A54AEB1141}" type="datetime'''''''''''1''''''''''3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3B922B37-4690-4FFF-BE64-1CF1E8BE6E3B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8740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D207202-02E4-4663-9452-687901DAF601}" type="datetime'''''''2''0''''''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C353B356-4523-4EBB-8BB5-4BEE486EFDA8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8089899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A2579A8-4809-4CB1-BAC9-4B5DFD665079}" type="datetime'''''''''''2''''''7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5609A8C5-6F5A-4550-B22E-654B7E2101C4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830580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3D8F118-CBBD-4762-817A-055703699BA9}" type="datetime'''''''''''''''''''''''''''''''''''''''''0''''''''3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A1943558-0C92-4E99-A787-BBB1C8828EFB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8521699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2259F03-6E18-4779-930F-251F417874E6}" type="datetime'''''1''''''''''''''''''''''''''''''''''''''''0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0CDCFC8-95BF-4577-92F4-D3D1D21F219B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739187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343E31A-C26F-475F-B860-FC899D288650}" type="datetime'''''''''''''''''1''''''''''''''''''''''''''''''7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EC14448-42E8-45BE-8DA8-EF845841B2C0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955088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0240EFC-0EBE-4EE6-B9EE-C4C9CF945042}" type="datetime'''''''''''''''''''''''''''''''''''''''''''''2''''''''''4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95C90B70-E522-40BB-808D-E77C9CED9CA5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9170987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7F93BE0-24ED-4A39-9962-731338525248}" type="datetime'''''''''''''''''''0''''''''''''''''''''''''''''1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400093FB-249D-4F1E-9815-FBB2F5130F10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9386888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634AEB2-ECD3-4E25-B83D-6FF7BC146DA3}" type="datetime'''''''''0''''''''''''''''''''''''''''''8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FF192964-A361-4542-8CE1-C9EF7E8185B2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960437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35717EC-5376-4304-BAC0-217532DD523A}" type="datetime'''''''''1''''''''''''''''''''5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B7FCF34C-1B18-4A4F-891A-39EBA462013A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820274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2B21F7C-B124-4E92-B6E2-DC3328677F28}" type="datetime'''''''''''''''''''''2''''''''''2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0C44E939-8B94-4731-A750-C2E3E393116D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10036175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9B20D4F-E2C9-4017-9693-D1E781E4FCB4}" type="datetime'''''''''''''29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F46E74E0-4873-4A93-B09A-A7B619A27EBE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10252074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DEA1314-9A91-4D14-816A-FE88681B58DF}" type="datetime'''0''5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C0D6DC35-6D76-4F8F-8256-FD78110ED1F0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104695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2DFAD3A-7041-4715-86CA-C20D966C06D0}" type="datetime'''''''''''''''''''''''1''''''''''2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3E13995B-8198-415A-9156-E015150B61B7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685462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BF7D18D-8A61-4761-AEA5-DB3A1DAFFC81}" type="datetime'''''''''''''''''''''''''''''1''''9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448A726D-607A-46CC-AA6A-FE7C8D4D2966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901363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708B8A3-74D1-447A-9328-0832107227B6}" type="datetime'''''''''''''''''''2''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12ECE431-48F4-4504-A521-88F3E41B33F2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1117262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40D8ABB-9C25-409B-8FBF-7EAC8AEB9F21}" type="datetime'''''''''''''''0''3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259CDD20-6560-4A24-80A9-B2EA2AA7A9D4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1334749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ABDCD07-E733-4073-9D55-D6B50AE9776B}" type="datetime'''1''''''''''''''''''''''''''''''''''''''''''''0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88086E06-1D2A-43FC-AC66-D79253D6C3B1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1550650" y="1284288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67D064E-5417-42DE-BA89-6F70088F316C}" type="datetime'''''''1''''''''''''''''''''''''7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9381CBBF-CF58-43C5-B7D4-029DE12B23CB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766549" y="1284288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53433C-5DF8-47BF-B2C1-0A9734FC607B}" type="datetime'''''2''''''4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598338B8-9942-4BCA-85E0-7CD5F7082476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11984039" y="1284288"/>
            <a:ext cx="301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73"/>
            </p:custDataLst>
          </p:nvPr>
        </p:nvCxnSpPr>
        <p:spPr bwMode="auto">
          <a:xfrm>
            <a:off x="26193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5F51D2E-BAA1-4AAD-B78C-7162C4AF090D}"/>
              </a:ext>
            </a:extLst>
          </p:cNvPr>
          <p:cNvCxnSpPr/>
          <p:nvPr userDrawn="1">
            <p:custDataLst>
              <p:tags r:id="rId74"/>
            </p:custDataLst>
          </p:nvPr>
        </p:nvCxnSpPr>
        <p:spPr bwMode="auto">
          <a:xfrm>
            <a:off x="35782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7A3DA983-D033-4649-BC02-ECE3BA83E236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54625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169227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12014200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ADCD6D21-6004-42CB-8AB5-C618F1E963EE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101298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73501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FF895C1-7674-45C5-AF9C-64F0B3A89071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82438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5144A81D-1ABA-4C94-A894-C7F2F32151C2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72866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DF5E5695-9F3F-4F82-8D30-52EBF856E1A1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64214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62E4FCB-643F-4757-B84D-551AECA901C3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4505325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284163" y="1395413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D70D133-E774-4BC6-85CE-E0C5A4AF5B14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917098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8B378C5D-10F8-4E53-BD8D-E9B15BD2EC70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11056938" y="1395413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284163" y="240665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284163" y="543877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442753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3417888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64500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92"/>
            </p:custDataLst>
          </p:nvPr>
        </p:nvCxnSpPr>
        <p:spPr bwMode="auto">
          <a:xfrm>
            <a:off x="284163" y="1395413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93"/>
            </p:custDataLst>
          </p:nvPr>
        </p:nvSpPr>
        <p:spPr bwMode="auto">
          <a:xfrm>
            <a:off x="325438" y="1263650"/>
            <a:ext cx="368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fld id="{A4E30BB0-742B-496C-8416-89D05FD3DB40}" type="datetime'A''''''''''ct''''''''i''v''''''''''''''''''''''i''t''''''y'">
              <a:rPr kumimoji="0" lang="en-US" altLang="en-US" sz="800" b="1" i="0" u="none" cap="none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marL="0" lvl="0" indent="0" algn="l"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kumimoji="0" lang="en-US" sz="800" b="1" i="0" u="none" cap="none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94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95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3" name="Text Placeholder 4">
            <a:extLst>
              <a:ext uri="{FF2B5EF4-FFF2-40B4-BE49-F238E27FC236}">
                <a16:creationId xmlns:a16="http://schemas.microsoft.com/office/drawing/2014/main" id="{67EAB526-29E1-4165-87FC-5211E6FAF2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6200000">
            <a:off x="23356" y="1736471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0" name="Text Placeholder 4">
            <a:extLst>
              <a:ext uri="{FF2B5EF4-FFF2-40B4-BE49-F238E27FC236}">
                <a16:creationId xmlns:a16="http://schemas.microsoft.com/office/drawing/2014/main" id="{543F4CE9-00F8-4F6F-8318-045D00C438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6200000">
            <a:off x="23356" y="2746129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0C703D68-C70B-4937-A8D9-EDBD8A5103A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6200000">
            <a:off x="23356" y="3755375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53399457-45AC-4E2E-9F88-BFCF0FC071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 rot="16200000">
            <a:off x="23356" y="4765033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7B3C31E7-954D-42B9-840E-0BD765CE21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 rot="16200000">
            <a:off x="23356" y="5774175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1353274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/>
          <a:srcRect r="72206"/>
          <a:stretch/>
        </p:blipFill>
        <p:spPr>
          <a:xfrm>
            <a:off x="5437233" y="2951505"/>
            <a:ext cx="1317534" cy="954991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B69876-9785-4BC5-A491-B850EB1E09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  <p:sp>
        <p:nvSpPr>
          <p:cNvPr id="6" name="Rectangle 1027">
            <a:extLst>
              <a:ext uri="{FF2B5EF4-FFF2-40B4-BE49-F238E27FC236}">
                <a16:creationId xmlns:a16="http://schemas.microsoft.com/office/drawing/2014/main" id="{1F51A78B-63EC-4994-84DA-7D57D2FCF7F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4745780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3222F8-89CC-41BB-892A-1C7BF119B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0AD263-7BAA-40AA-87D4-5CB5E4B7A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684486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3_5 Lane PO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7" name="think-cell Slide" r:id="rId96" imgW="360" imgH="360" progId="TCLayout.ActiveDocument.1">
                  <p:embed/>
                </p:oleObj>
              </mc:Choice>
              <mc:Fallback>
                <p:oleObj name="think-cell Slide" r:id="rId96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080FD5-E825-4102-A276-9AC57C035C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563D92-F72E-4DBB-93A8-B33237A3047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84163" y="2461734"/>
            <a:ext cx="11730037" cy="101123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18B665-9C4A-44C3-98DC-54CBD4DEF4DC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284163" y="4482622"/>
            <a:ext cx="11730037" cy="101123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E9770D5-5CD9-4C43-A300-172B097628D1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735012" y="1037748"/>
            <a:ext cx="11279188" cy="1508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EBF0DFD-E272-4E7E-933A-82534E2730F3}" type="datetime'''''''''2''''''''''''''''''''0''''''''''''2''2'''''''''''''''">
              <a:rPr lang="en-US" altLang="en-US" sz="800" b="1" u="none" kern="0" smtClean="0">
                <a:solidFill>
                  <a:schemeClr val="tx1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kumimoji="0" lang="en-US" sz="800" b="1" i="0" u="none" kern="0" cap="none" spc="0" baseline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242299C4-44C0-419A-AB0C-0642B4EFDCA8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735013" y="1188560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7A74023-24D7-4A65-8218-4D2C4FFC917B}" type="datetime'''''''''''''''''''''J''''''a''''''n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a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54C04D45-637C-4D80-A005-D629F36D7D2A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1692275" y="1188560"/>
            <a:ext cx="865188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65ACE49-64F4-4750-9A8F-770F74B2D7EB}" type="datetime'''''''''''''''''''F''''''''''''''''''e''''''''''''''''''''''b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Feb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C29E01C7-0781-4388-83CB-A573F823F928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2557463" y="1188560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F488825-AF96-4A8F-BCE9-8253FC6516CA}" type="datetime'''''''''''M''''''a''''''''''r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95356104-6B65-4384-B28B-BB056ABB7B47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3516313" y="1188560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B96841D-4E55-403F-A3B0-58632BEF64B4}" type="datetime'''''''''A''''''''''''''''''''''p''''''''''''''''''r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pr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F747956B-0094-4C47-8FD6-79A90B91B54C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4443413" y="1188560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072CF4B-C45A-4FF8-AFE7-A5822C31878D}" type="datetime'''''''''''''M''''''''''''''''''''ay''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May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939F7816-EDD4-4661-88ED-4109EE843E1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5400675" y="1188560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EF19C3B-512D-495E-BD97-306C7400D355}" type="datetime'''''''''''''''''J''''''u''''''''n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n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4541924C-DAEA-43F8-9894-F3A9CCDE48A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6327775" y="1188560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1F791CB-5554-4AFD-9BDE-9DD2B6789499}" type="datetime'''J''''''ul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Jul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DCDE1D90-73D3-40B1-B3ED-63FD6749086C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7286625" y="1188560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7D10728-15DE-4AF1-A245-B6F1B169DC25}" type="datetime'''''''''''''''''A''''''''u''''g''''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Aug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5D534E56-357A-42E6-A95F-CDC0A994210A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8243888" y="1188560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1667DC0-A4C2-4531-943E-9022A75D8436}" type="datetime'''''''''''''S''''''e''''''''''''''''''''''''''''p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Sep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35012662-A5F7-410E-9894-D25B4C83891F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9170988" y="1188560"/>
            <a:ext cx="95885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22FB580-297B-4251-A7D2-CCD1D59BC79E}" type="datetime'''''''''''''O''c''t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Oct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ABA02641-56A6-4E64-BA08-69738C195BDE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10129838" y="1188560"/>
            <a:ext cx="927100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A62E66E-1EAE-41A0-8C3B-A43CAF465751}" type="datetime'No''''''''v''''''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Nov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C977021B-D506-417C-B745-FD37389308D1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11056938" y="1188560"/>
            <a:ext cx="957263" cy="15081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4288" rIns="0" bIns="14288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B1A32F9-53EC-4159-8D2F-3D445CCE207B}" type="datetime'''''''''D''e''''''''''''''''''c'''''''''''''">
              <a:rPr lang="en-US" altLang="en-US" sz="800" b="1" u="none" smtClean="0">
                <a:solidFill>
                  <a:schemeClr val="bg1"/>
                </a:solidFill>
                <a:effectLst/>
                <a:latin typeface="+mn-lt"/>
              </a:rPr>
              <a:pPr/>
              <a:t>Dec</a:t>
            </a:fld>
            <a:endParaRPr kumimoji="0" lang="en-US" sz="800" b="1" i="0" u="none" cap="none" baseline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8D2FB9E1-AFC6-4F09-BCF7-B84CFD134622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735014" y="1339373"/>
            <a:ext cx="30163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49E510A-9D14-4E81-933A-134C803F0BD1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765175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FC9845E-B346-4E71-AE7C-8AD0A2426DF7}" type="datetime'''''''''0''''''''''''''''''2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35548C08-BDBD-429F-BF0A-AA048038ABA3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98266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8D74E40-783B-4AFC-9215-E2DC90DB0796}" type="datetime'''0''''''''''9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CFEDE700-B244-4A56-8AC5-AA499ED2958A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119856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60E436B-85AD-4A5A-8D33-C87BB9C27BC6}" type="datetime'''''''''1''''''''''''''''''''''''''''''''''''''''''''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4077BDA5-794A-43A2-A54A-CDAAE418BFF3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1414463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188E991-11B6-4F93-BCE5-9EEED056221E}" type="datetime'''''''''''2''''''''''3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DA109717-D714-498A-ABE7-B8B76129B48E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631950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05605EF-6D44-4492-96CF-3398EA190E5B}" type="datetime'''''''''''''''''30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851DCD14-CF43-4B1A-8CDC-691738C34246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847850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E420C5D-0C9A-49E3-9DF4-2E6B546942FE}" type="datetime'''''''''''''''''0''''''''''''''''6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D5093C09-4B47-4EDE-81FE-1B1575181A7F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2063750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AE8B0C3-CDCD-4567-B05B-F90481D82D17}" type="datetime'''''''1''''''''''''''''''''''''''''''''3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8B7FE4C2-5151-4FC7-9652-4C5A9FB3DFFE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2279650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3AB60C4-33D7-49D8-9F45-56D5D9F72726}" type="datetime'''''''''''''''''''''''''2''''0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559C25D3-3EAB-478F-A277-938F8248C783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2497138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49B2ABB-6599-4EC0-8B24-23F5889B8004}" type="datetime'''2''''''''''''''''''''''''''''''7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6A41F807-115B-4EB2-9393-D9F3EBDE0A28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auto">
          <a:xfrm>
            <a:off x="2713038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A8C9D92-DD6A-4486-B67A-319451C798B7}" type="datetime'0''''''''''''''''''''''''''''6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86071404-A1A9-4BB3-84FB-68127769D999}"/>
              </a:ext>
            </a:extLst>
          </p:cNvPr>
          <p:cNvSpPr/>
          <p:nvPr userDrawn="1">
            <p:custDataLst>
              <p:tags r:id="rId30"/>
            </p:custDataLst>
          </p:nvPr>
        </p:nvSpPr>
        <p:spPr bwMode="auto">
          <a:xfrm>
            <a:off x="2928938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9F9F93D-F47E-4427-97BB-4A267084F9DC}" type="datetime'''''''''''''''''''''''''1''''3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A997EB10-1AD0-4D36-AAB0-CA286FDD08A3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3144838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0E8AAB4-1F40-477F-BD67-3494CE96BA1A}" type="datetime'''2''''''''''''''''''0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3B9F03F1-3FE9-4BD0-8FC0-644E05BBF30B}"/>
              </a:ext>
            </a:extLst>
          </p:cNvPr>
          <p:cNvSpPr/>
          <p:nvPr userDrawn="1">
            <p:custDataLst>
              <p:tags r:id="rId32"/>
            </p:custDataLst>
          </p:nvPr>
        </p:nvSpPr>
        <p:spPr bwMode="auto">
          <a:xfrm>
            <a:off x="3362325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108E0C4-F659-4829-A5BF-3FBC97D4FDE5}" type="datetime'''''''2''''''''''''7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27BF7AFF-FEF8-46FF-912A-CE474C08DC72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auto">
          <a:xfrm>
            <a:off x="3578225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DF1801B-C645-48A6-814E-E93D3C18D64C}" type="datetime'0''''''''''''''3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D0673B98-038E-41A2-A05A-B88A624D34D3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auto">
          <a:xfrm>
            <a:off x="3794125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317310C-060F-4222-AFD2-DA74B7CC7AEB}" type="datetime'''''''''''''''''''''''1''''''''0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A96273CF-0152-4104-83E3-EB87831AF6AC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4010025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F400581-142D-4789-B652-91819C17B6E6}" type="datetime'''''''''''''''''''''''''''''''''''1''''''7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F49F8044-2435-4DD5-A794-FBF8AABC60FD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422751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1B382CD-0AB1-486B-991C-BCF8F044D38F}" type="datetime'2''4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F9851DC7-34A2-4176-A21C-C89BBF470903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auto">
          <a:xfrm>
            <a:off x="444341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40A7D33-13A5-4345-8A6D-51A70CB55ED3}" type="datetime'''''''''''''''''''''''''''''''''''''''''''''''''''01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C282157D-1307-498B-8EF4-C9FC012B78A8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465931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CE31957-DC3B-4565-A19A-D53EB9BC98E0}" type="datetime'''''''''''''''0''''''''''''''''''''''''''8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8F46448D-BDCC-4221-BDF7-F1D5847642DF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4875213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D6DAE88-C692-4E10-90CE-1BEF153AC5D1}" type="datetime'''''''1''''''''''''''''''5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DD1F3A99-71DD-4BFB-B360-46CBA493F6A4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5092700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9F62529-9600-4F92-9BDB-7C0C30723E9C}" type="datetime'''''2''''''''''''''''''''''''''2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AAF62F26-EB24-4010-A904-38D6A7C7F3EB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auto">
          <a:xfrm>
            <a:off x="5308600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AD898D2-B890-41F6-8FC5-938CD552C071}" type="datetime'''''''''2''''''''''''''''''''''''9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91AB70EB-3492-430B-A91B-C3FC8432E24C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auto">
          <a:xfrm>
            <a:off x="5524500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DC1285C-AB24-4692-9F6B-B708DAF7A8E3}" type="datetime'''''''''''''''0''''''''''''''''''''''''''''''''5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8A4FC917-A950-4CED-819B-8D3539FAEAE9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5740400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323FFB5-695E-4F86-94A1-83326F68EB1A}" type="datetime'''''''''''''''''1''''''2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D6404ED1-1F14-4C9B-86B9-661CED037B3F}"/>
              </a:ext>
            </a:extLst>
          </p:cNvPr>
          <p:cNvSpPr/>
          <p:nvPr userDrawn="1">
            <p:custDataLst>
              <p:tags r:id="rId44"/>
            </p:custDataLst>
          </p:nvPr>
        </p:nvSpPr>
        <p:spPr bwMode="auto">
          <a:xfrm>
            <a:off x="5957888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A8F1DC0-90B9-4BAA-929B-6EC9AA202418}" type="datetime'''''''''''1''''''''''''9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78A0EF8B-7E32-4C59-BF23-CF8D13F3A047}"/>
              </a:ext>
            </a:extLst>
          </p:cNvPr>
          <p:cNvSpPr/>
          <p:nvPr userDrawn="1">
            <p:custDataLst>
              <p:tags r:id="rId45"/>
            </p:custDataLst>
          </p:nvPr>
        </p:nvSpPr>
        <p:spPr bwMode="auto">
          <a:xfrm>
            <a:off x="6173788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CFE094F-908F-4FB1-BEC8-A47283656868}" type="datetime'''''2''''''''''''''''''''''''''''''''''''6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DAAEB6D1-5F71-4E3B-ADAD-FAA892022FBA}"/>
              </a:ext>
            </a:extLst>
          </p:cNvPr>
          <p:cNvSpPr/>
          <p:nvPr userDrawn="1">
            <p:custDataLst>
              <p:tags r:id="rId46"/>
            </p:custDataLst>
          </p:nvPr>
        </p:nvSpPr>
        <p:spPr bwMode="auto">
          <a:xfrm>
            <a:off x="6389688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B6F7123-C650-4FAD-BAFB-05B320C4AB43}" type="datetime'''''''''''''''''''''''''''''0''''''''''''''''''''''''3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7B7C7272-5308-40BC-A0B0-4C4288D652FD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>
            <a:off x="6605588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D752204-414B-43EF-B5D3-97350A368A02}" type="datetime'1''''''''''''''''''''''''''''''0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77329940-1F83-4557-8922-FF5BE3A1B396}"/>
              </a:ext>
            </a:extLst>
          </p:cNvPr>
          <p:cNvSpPr/>
          <p:nvPr userDrawn="1">
            <p:custDataLst>
              <p:tags r:id="rId48"/>
            </p:custDataLst>
          </p:nvPr>
        </p:nvSpPr>
        <p:spPr bwMode="auto">
          <a:xfrm>
            <a:off x="6823075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17E0ACE-9B9E-4456-8388-5BB3840D4830}" type="datetime'''''''''''''''''''1''''''''''''7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6E9E84FD-0FBA-43C8-8557-D19F340045F7}"/>
              </a:ext>
            </a:extLst>
          </p:cNvPr>
          <p:cNvSpPr/>
          <p:nvPr userDrawn="1">
            <p:custDataLst>
              <p:tags r:id="rId49"/>
            </p:custDataLst>
          </p:nvPr>
        </p:nvSpPr>
        <p:spPr bwMode="auto">
          <a:xfrm>
            <a:off x="7038975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AD3B248-73E0-47A8-AF3A-EB71A5253169}" type="datetime'''''''''''''''''''''2''''4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91D4B3B0-CDB3-4927-BED6-EB2D4C598F11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7254875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2D09918-7B0B-49DF-A943-4B911D8D1D48}" type="datetime'''''''''''''3''''1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5C1A80F5-19F6-4641-9DEE-59FB05720C63}"/>
              </a:ext>
            </a:extLst>
          </p:cNvPr>
          <p:cNvSpPr/>
          <p:nvPr userDrawn="1">
            <p:custDataLst>
              <p:tags r:id="rId51"/>
            </p:custDataLst>
          </p:nvPr>
        </p:nvSpPr>
        <p:spPr bwMode="auto">
          <a:xfrm>
            <a:off x="747236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CFFA319-7C17-4E6B-B420-9A755DC922D5}" type="datetime'''''''0''''''''''''''''''''''''''''''''7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D49B4D33-EE3F-493C-A6EB-18BE9D102741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>
            <a:off x="768826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AE35D9E-EFB6-4DD2-8257-093657CE4752}" type="datetime'''''''''1''''''''''''''4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0818DB81-43BE-4504-8BA7-ABB73D1C23F3}"/>
              </a:ext>
            </a:extLst>
          </p:cNvPr>
          <p:cNvSpPr/>
          <p:nvPr userDrawn="1">
            <p:custDataLst>
              <p:tags r:id="rId53"/>
            </p:custDataLst>
          </p:nvPr>
        </p:nvSpPr>
        <p:spPr bwMode="auto">
          <a:xfrm>
            <a:off x="790416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39D700C-CDB5-4EDA-B641-1CE6C70B176F}" type="datetime'''''''''''''''''''2''''''''''''''''1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E86B7CCA-203B-4796-941D-2D052A4AC562}"/>
              </a:ext>
            </a:extLst>
          </p:cNvPr>
          <p:cNvSpPr/>
          <p:nvPr userDrawn="1">
            <p:custDataLst>
              <p:tags r:id="rId54"/>
            </p:custDataLst>
          </p:nvPr>
        </p:nvSpPr>
        <p:spPr bwMode="auto">
          <a:xfrm>
            <a:off x="8120063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B8C984C-57A0-409D-A4E8-30DC462D31C5}" type="datetime'''''2''''''8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464F235A-D42A-419D-9D1D-24CC55E39D2A}"/>
              </a:ext>
            </a:extLst>
          </p:cNvPr>
          <p:cNvSpPr/>
          <p:nvPr userDrawn="1">
            <p:custDataLst>
              <p:tags r:id="rId55"/>
            </p:custDataLst>
          </p:nvPr>
        </p:nvSpPr>
        <p:spPr bwMode="auto">
          <a:xfrm>
            <a:off x="8337550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8DAB8F7-3BF7-41CF-8556-281346DF43AB}" type="datetime'''''''0''''''4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BF66B682-C8B3-42A4-B5D1-7C7C1EDB1480}"/>
              </a:ext>
            </a:extLst>
          </p:cNvPr>
          <p:cNvSpPr/>
          <p:nvPr userDrawn="1">
            <p:custDataLst>
              <p:tags r:id="rId56"/>
            </p:custDataLst>
          </p:nvPr>
        </p:nvSpPr>
        <p:spPr bwMode="auto">
          <a:xfrm>
            <a:off x="8553450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E001D5F-FE8C-442C-8DCF-DE79CF89F50C}" type="datetime'''''''''''''1''''''''''''''''''''''''''''''''1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FA80A423-4586-4BAF-BEA0-F81666202717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auto">
          <a:xfrm>
            <a:off x="8769350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0E55241-97AD-4E7E-9253-8E155B459F6D}" type="datetime'''''''''''''''''''''''''''''1''''''8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16BFB115-9B99-4E34-8DF3-2CE536DA2082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auto">
          <a:xfrm>
            <a:off x="8985250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4993A81-7671-4CB1-99BA-54F9B3F9CAA9}" type="datetime'''''''''''''''''''''''''''''''2''''''''5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0615C7A3-F1C5-4298-B480-442EF97DAD8A}"/>
              </a:ext>
            </a:extLst>
          </p:cNvPr>
          <p:cNvSpPr/>
          <p:nvPr userDrawn="1">
            <p:custDataLst>
              <p:tags r:id="rId59"/>
            </p:custDataLst>
          </p:nvPr>
        </p:nvSpPr>
        <p:spPr bwMode="auto">
          <a:xfrm>
            <a:off x="9202738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D92A55C-1DEB-45BA-8FBC-64AB12B5C9DA}" type="datetime'''''''''''0''''''2''''''''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2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E9ABE54F-6DE8-4C50-87B4-9CEEDF752594}"/>
              </a:ext>
            </a:extLst>
          </p:cNvPr>
          <p:cNvSpPr/>
          <p:nvPr userDrawn="1">
            <p:custDataLst>
              <p:tags r:id="rId60"/>
            </p:custDataLst>
          </p:nvPr>
        </p:nvSpPr>
        <p:spPr bwMode="auto">
          <a:xfrm>
            <a:off x="9418638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8559CF2-C77A-4592-ADBA-08AD5E3470AC}" type="datetime'''''''''''''''''''''''''''''''''''''''0''''''9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9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2B5CBA31-86F5-4676-A509-EEB88C5A33C8}"/>
              </a:ext>
            </a:extLst>
          </p:cNvPr>
          <p:cNvSpPr/>
          <p:nvPr userDrawn="1">
            <p:custDataLst>
              <p:tags r:id="rId61"/>
            </p:custDataLst>
          </p:nvPr>
        </p:nvSpPr>
        <p:spPr bwMode="auto">
          <a:xfrm>
            <a:off x="9634538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DD368F4-430F-44AC-A23E-F429A9EB02A9}" type="datetime'''''''''''''''1''''''''''''''''''''''''''''''6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1328D48F-36D2-4B15-9BE1-D796B6085595}"/>
              </a:ext>
            </a:extLst>
          </p:cNvPr>
          <p:cNvSpPr/>
          <p:nvPr userDrawn="1">
            <p:custDataLst>
              <p:tags r:id="rId62"/>
            </p:custDataLst>
          </p:nvPr>
        </p:nvSpPr>
        <p:spPr bwMode="auto">
          <a:xfrm>
            <a:off x="9850438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25055C9-2BF5-48F9-B146-37A65A9BFC14}" type="datetime'''''''''''''''''2''''''3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6629C70A-5ACC-455B-8C64-373D053885DB}"/>
              </a:ext>
            </a:extLst>
          </p:cNvPr>
          <p:cNvSpPr/>
          <p:nvPr userDrawn="1">
            <p:custDataLst>
              <p:tags r:id="rId63"/>
            </p:custDataLst>
          </p:nvPr>
        </p:nvSpPr>
        <p:spPr bwMode="auto">
          <a:xfrm>
            <a:off x="10067925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1901C11-F109-49FA-AD75-1950C53312FD}" type="datetime'''''''''''''''3''''''''''''''''''''''0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3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4EB66BBF-4394-4E2F-AC3B-38F0671C43DA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10283825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9CFD0A0-BBFF-4998-B2BB-9E8DF44E5468}" type="datetime'''''''''''''''''''''''''''''''''0''''''''''''6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6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AF6E8D48-A5D6-4B93-9B28-CC98543DB95D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10499725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2BC45B9-4E90-473A-9B18-DFF9480C3DD7}" type="datetime'''''1''''''''''''''''3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3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AA2AB7B9-86DC-423C-8A82-569DF3DE50EA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0715625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30880E0-515B-42BA-BED8-3E747A6918EC}" type="datetime'''2''''''''''''''''''''0''''''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0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52606F7D-6C23-4336-BA60-A5BA848C954E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093311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1BC2D49-1E36-456B-BA7E-89A5B0E9DEB2}" type="datetime'''''''''''''''''''''''''''''2''''''7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7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EBBD8469-35CC-491A-BF45-E462458AD78C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114901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1FDE3BF7-34E7-48AA-B9AB-FF0C4A01D78E}" type="datetime'''''0''''''''''''''''''''''''''''''''''''''''4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04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4C52D9DD-C254-490E-AE6D-6B1EEBA4A1D5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11364913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08EFA04-61C0-4BC2-AA9F-36FAB228FAC8}" type="datetime'''''''''''''''''''''''''''''''''''''''''''''''''''''''''1''1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1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8E9A9A39-12A6-41FE-A0F4-CC5F1FE465F0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11580813" y="1339373"/>
            <a:ext cx="217488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C872AA1-4050-4E2C-97F5-0AA557BB66E6}" type="datetime'''''''''18''''''''''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18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5ED2885F-24C2-4816-B614-A2B0FF61A00F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11798300" y="1339373"/>
            <a:ext cx="215900" cy="111125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525" rIns="0" bIns="9525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9BD5130-07C3-43F8-BB96-F28FDE8B55F3}" type="datetime'''''''''''''''''''''''''''''''''''2''''5'''''''''''''''''''">
              <a:rPr lang="en-US" altLang="en-US" sz="600" u="none" smtClean="0">
                <a:solidFill>
                  <a:schemeClr val="tx1"/>
                </a:solidFill>
                <a:effectLst/>
                <a:latin typeface="+mn-lt"/>
              </a:rPr>
              <a:pPr/>
              <a:t>25</a:t>
            </a:fld>
            <a:endParaRPr kumimoji="0" lang="en-US" sz="600" b="0" i="0" u="none" cap="none" baseline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14FD3E2-4F7A-4841-8F22-FCA10330FCE9}"/>
              </a:ext>
            </a:extLst>
          </p:cNvPr>
          <p:cNvCxnSpPr/>
          <p:nvPr userDrawn="1">
            <p:custDataLst>
              <p:tags r:id="rId72"/>
            </p:custDataLst>
          </p:nvPr>
        </p:nvCxnSpPr>
        <p:spPr bwMode="auto">
          <a:xfrm>
            <a:off x="9170988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9710BC6-F784-4EE5-8081-8805DCA82B4B}"/>
              </a:ext>
            </a:extLst>
          </p:cNvPr>
          <p:cNvCxnSpPr/>
          <p:nvPr userDrawn="1">
            <p:custDataLst>
              <p:tags r:id="rId73"/>
            </p:custDataLst>
          </p:nvPr>
        </p:nvCxnSpPr>
        <p:spPr bwMode="auto">
          <a:xfrm>
            <a:off x="6327775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CBFAC28-58C8-4188-AC01-8FC88D32AE73}"/>
              </a:ext>
            </a:extLst>
          </p:cNvPr>
          <p:cNvCxnSpPr/>
          <p:nvPr userDrawn="1">
            <p:custDataLst>
              <p:tags r:id="rId74"/>
            </p:custDataLst>
          </p:nvPr>
        </p:nvCxnSpPr>
        <p:spPr bwMode="auto">
          <a:xfrm>
            <a:off x="735013" y="1450498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116FE4-8B06-4C5C-828B-C9CA64C7094D}"/>
              </a:ext>
            </a:extLst>
          </p:cNvPr>
          <p:cNvCxnSpPr/>
          <p:nvPr userDrawn="1">
            <p:custDataLst>
              <p:tags r:id="rId75"/>
            </p:custDataLst>
          </p:nvPr>
        </p:nvCxnSpPr>
        <p:spPr bwMode="auto">
          <a:xfrm>
            <a:off x="2557463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745C34-343B-4C93-9DEC-E1A13A32A4F1}"/>
              </a:ext>
            </a:extLst>
          </p:cNvPr>
          <p:cNvCxnSpPr/>
          <p:nvPr userDrawn="1">
            <p:custDataLst>
              <p:tags r:id="rId76"/>
            </p:custDataLst>
          </p:nvPr>
        </p:nvCxnSpPr>
        <p:spPr bwMode="auto">
          <a:xfrm>
            <a:off x="1692275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4E81F20-D5E2-4BF0-949B-D57004A247C2}"/>
              </a:ext>
            </a:extLst>
          </p:cNvPr>
          <p:cNvCxnSpPr/>
          <p:nvPr userDrawn="1">
            <p:custDataLst>
              <p:tags r:id="rId77"/>
            </p:custDataLst>
          </p:nvPr>
        </p:nvCxnSpPr>
        <p:spPr bwMode="auto">
          <a:xfrm>
            <a:off x="12014200" y="1450498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03475D-0BB5-4549-901B-EDE59088B781}"/>
              </a:ext>
            </a:extLst>
          </p:cNvPr>
          <p:cNvCxnSpPr/>
          <p:nvPr userDrawn="1">
            <p:custDataLst>
              <p:tags r:id="rId78"/>
            </p:custDataLst>
          </p:nvPr>
        </p:nvCxnSpPr>
        <p:spPr bwMode="auto">
          <a:xfrm>
            <a:off x="4443413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BDCD350-C812-429C-B12C-72F32B531501}"/>
              </a:ext>
            </a:extLst>
          </p:cNvPr>
          <p:cNvCxnSpPr/>
          <p:nvPr userDrawn="1">
            <p:custDataLst>
              <p:tags r:id="rId79"/>
            </p:custDataLst>
          </p:nvPr>
        </p:nvCxnSpPr>
        <p:spPr bwMode="auto">
          <a:xfrm>
            <a:off x="284163" y="1450498"/>
            <a:ext cx="0" cy="5054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28A718-0E93-4D04-AE7E-FB0299AEB507}"/>
              </a:ext>
            </a:extLst>
          </p:cNvPr>
          <p:cNvCxnSpPr/>
          <p:nvPr userDrawn="1">
            <p:custDataLst>
              <p:tags r:id="rId80"/>
            </p:custDataLst>
          </p:nvPr>
        </p:nvCxnSpPr>
        <p:spPr bwMode="auto">
          <a:xfrm>
            <a:off x="3516313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4C5129F-6880-46E4-87C5-1DF89F8D7EBC}"/>
              </a:ext>
            </a:extLst>
          </p:cNvPr>
          <p:cNvCxnSpPr/>
          <p:nvPr userDrawn="1">
            <p:custDataLst>
              <p:tags r:id="rId81"/>
            </p:custDataLst>
          </p:nvPr>
        </p:nvCxnSpPr>
        <p:spPr bwMode="auto">
          <a:xfrm>
            <a:off x="5400675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2EE58FE-9BBA-474B-87FD-0C8F6AD6649B}"/>
              </a:ext>
            </a:extLst>
          </p:cNvPr>
          <p:cNvCxnSpPr/>
          <p:nvPr userDrawn="1">
            <p:custDataLst>
              <p:tags r:id="rId82"/>
            </p:custDataLst>
          </p:nvPr>
        </p:nvCxnSpPr>
        <p:spPr bwMode="auto">
          <a:xfrm>
            <a:off x="7286625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D735C9A-2219-474D-B5C7-68D9AE867412}"/>
              </a:ext>
            </a:extLst>
          </p:cNvPr>
          <p:cNvCxnSpPr/>
          <p:nvPr userDrawn="1">
            <p:custDataLst>
              <p:tags r:id="rId83"/>
            </p:custDataLst>
          </p:nvPr>
        </p:nvCxnSpPr>
        <p:spPr bwMode="auto">
          <a:xfrm>
            <a:off x="8243888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DC473AC-0B42-4259-8B4C-9004161ED163}"/>
              </a:ext>
            </a:extLst>
          </p:cNvPr>
          <p:cNvCxnSpPr/>
          <p:nvPr userDrawn="1">
            <p:custDataLst>
              <p:tags r:id="rId84"/>
            </p:custDataLst>
          </p:nvPr>
        </p:nvCxnSpPr>
        <p:spPr bwMode="auto">
          <a:xfrm>
            <a:off x="10129838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6183BE9-2BAB-48F4-81A4-9310A093BABC}"/>
              </a:ext>
            </a:extLst>
          </p:cNvPr>
          <p:cNvCxnSpPr/>
          <p:nvPr userDrawn="1">
            <p:custDataLst>
              <p:tags r:id="rId85"/>
            </p:custDataLst>
          </p:nvPr>
        </p:nvCxnSpPr>
        <p:spPr bwMode="auto">
          <a:xfrm>
            <a:off x="11056938" y="1450498"/>
            <a:ext cx="0" cy="5054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9ED83390-339A-428A-A4C3-E399731118E0}"/>
              </a:ext>
            </a:extLst>
          </p:cNvPr>
          <p:cNvCxnSpPr/>
          <p:nvPr userDrawn="1">
            <p:custDataLst>
              <p:tags r:id="rId86"/>
            </p:custDataLst>
          </p:nvPr>
        </p:nvCxnSpPr>
        <p:spPr bwMode="auto">
          <a:xfrm>
            <a:off x="284163" y="2461735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2DD58E83-17A4-4EDD-99EC-A55D03C332EA}"/>
              </a:ext>
            </a:extLst>
          </p:cNvPr>
          <p:cNvCxnSpPr/>
          <p:nvPr userDrawn="1">
            <p:custDataLst>
              <p:tags r:id="rId87"/>
            </p:custDataLst>
          </p:nvPr>
        </p:nvCxnSpPr>
        <p:spPr bwMode="auto">
          <a:xfrm>
            <a:off x="284163" y="5493860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07C4838-13CF-4003-93BA-68DC2EC1C155}"/>
              </a:ext>
            </a:extLst>
          </p:cNvPr>
          <p:cNvCxnSpPr/>
          <p:nvPr userDrawn="1">
            <p:custDataLst>
              <p:tags r:id="rId88"/>
            </p:custDataLst>
          </p:nvPr>
        </p:nvCxnSpPr>
        <p:spPr bwMode="auto">
          <a:xfrm>
            <a:off x="284163" y="347297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BDCDCBC-638F-4821-B2EF-6E2E663E986D}"/>
              </a:ext>
            </a:extLst>
          </p:cNvPr>
          <p:cNvCxnSpPr/>
          <p:nvPr userDrawn="1">
            <p:custDataLst>
              <p:tags r:id="rId89"/>
            </p:custDataLst>
          </p:nvPr>
        </p:nvCxnSpPr>
        <p:spPr bwMode="auto">
          <a:xfrm>
            <a:off x="284163" y="4482623"/>
            <a:ext cx="117300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E83CBEC-0398-4B41-9A58-DFD55D577E92}"/>
              </a:ext>
            </a:extLst>
          </p:cNvPr>
          <p:cNvCxnSpPr/>
          <p:nvPr userDrawn="1">
            <p:custDataLst>
              <p:tags r:id="rId90"/>
            </p:custDataLst>
          </p:nvPr>
        </p:nvCxnSpPr>
        <p:spPr bwMode="auto">
          <a:xfrm>
            <a:off x="284163" y="6505098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560DA32-3A21-4769-9B9D-C111C166B78F}"/>
              </a:ext>
            </a:extLst>
          </p:cNvPr>
          <p:cNvCxnSpPr/>
          <p:nvPr userDrawn="1">
            <p:custDataLst>
              <p:tags r:id="rId91"/>
            </p:custDataLst>
          </p:nvPr>
        </p:nvCxnSpPr>
        <p:spPr bwMode="auto">
          <a:xfrm>
            <a:off x="284163" y="1450498"/>
            <a:ext cx="11730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F0E1C79F-B467-4B6E-BC2B-32321FE4E1C6}"/>
              </a:ext>
            </a:extLst>
          </p:cNvPr>
          <p:cNvSpPr/>
          <p:nvPr userDrawn="1">
            <p:custDataLst>
              <p:tags r:id="rId92"/>
            </p:custDataLst>
          </p:nvPr>
        </p:nvSpPr>
        <p:spPr bwMode="auto">
          <a:xfrm>
            <a:off x="303404" y="1188560"/>
            <a:ext cx="368300" cy="24139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1" i="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cus </a:t>
            </a:r>
          </a:p>
          <a:p>
            <a:pPr marL="0" lvl="0" indent="0" algn="l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800" b="1" i="0" u="none" cap="none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tegory</a:t>
            </a:r>
            <a:endParaRPr kumimoji="0" lang="en-US" sz="800" b="1" i="0" u="none" cap="none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FE2A499-DC24-4C49-92C9-489B60F8E93F}"/>
              </a:ext>
            </a:extLst>
          </p:cNvPr>
          <p:cNvSpPr txBox="1"/>
          <p:nvPr userDrawn="1"/>
        </p:nvSpPr>
        <p:spPr>
          <a:xfrm>
            <a:off x="11454171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Hol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DA5BFB06-4761-41AA-A316-2410F18901F6}"/>
              </a:ext>
            </a:extLst>
          </p:cNvPr>
          <p:cNvSpPr txBox="1"/>
          <p:nvPr userDrawn="1"/>
        </p:nvSpPr>
        <p:spPr>
          <a:xfrm>
            <a:off x="7698656" y="26383"/>
            <a:ext cx="6873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d</a:t>
            </a:r>
          </a:p>
        </p:txBody>
      </p:sp>
      <p:sp>
        <p:nvSpPr>
          <p:cNvPr id="325" name="Isosceles Triangle 324">
            <a:extLst>
              <a:ext uri="{FF2B5EF4-FFF2-40B4-BE49-F238E27FC236}">
                <a16:creationId xmlns:a16="http://schemas.microsoft.com/office/drawing/2014/main" id="{CAFFDCAB-2D7C-4557-8A5F-CCC59E659F36}"/>
              </a:ext>
            </a:extLst>
          </p:cNvPr>
          <p:cNvSpPr/>
          <p:nvPr userDrawn="1">
            <p:custDataLst>
              <p:tags r:id="rId93"/>
            </p:custDataLst>
          </p:nvPr>
        </p:nvSpPr>
        <p:spPr bwMode="auto">
          <a:xfrm>
            <a:off x="7639775" y="65525"/>
            <a:ext cx="137160" cy="137160"/>
          </a:xfrm>
          <a:prstGeom prst="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Isosceles Triangle 325">
            <a:extLst>
              <a:ext uri="{FF2B5EF4-FFF2-40B4-BE49-F238E27FC236}">
                <a16:creationId xmlns:a16="http://schemas.microsoft.com/office/drawing/2014/main" id="{655DB14B-6B86-4F2D-9CAB-0362D218D3E5}"/>
              </a:ext>
            </a:extLst>
          </p:cNvPr>
          <p:cNvSpPr/>
          <p:nvPr userDrawn="1">
            <p:custDataLst>
              <p:tags r:id="rId94"/>
            </p:custDataLst>
          </p:nvPr>
        </p:nvSpPr>
        <p:spPr bwMode="auto">
          <a:xfrm>
            <a:off x="11384439" y="65525"/>
            <a:ext cx="137160" cy="13716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TextBox 20">
            <a:extLst>
              <a:ext uri="{FF2B5EF4-FFF2-40B4-BE49-F238E27FC236}">
                <a16:creationId xmlns:a16="http://schemas.microsoft.com/office/drawing/2014/main" id="{9FA69DEE-1E5F-436B-95F5-F90536F14E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159792" y="26383"/>
            <a:ext cx="12282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ignificant Delay/Issue</a:t>
            </a:r>
          </a:p>
        </p:txBody>
      </p:sp>
      <p:sp>
        <p:nvSpPr>
          <p:cNvPr id="328" name="TextBox 21">
            <a:extLst>
              <a:ext uri="{FF2B5EF4-FFF2-40B4-BE49-F238E27FC236}">
                <a16:creationId xmlns:a16="http://schemas.microsoft.com/office/drawing/2014/main" id="{A58E9758-EB3D-4DA5-A75C-F369467176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084561" y="26383"/>
            <a:ext cx="1010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light Delay/Issue</a:t>
            </a:r>
          </a:p>
        </p:txBody>
      </p:sp>
      <p:sp>
        <p:nvSpPr>
          <p:cNvPr id="329" name="Isosceles Triangle 328">
            <a:extLst>
              <a:ext uri="{FF2B5EF4-FFF2-40B4-BE49-F238E27FC236}">
                <a16:creationId xmlns:a16="http://schemas.microsoft.com/office/drawing/2014/main" id="{88FE245D-4CB4-4C8C-AEF9-A513D5815E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095545" y="65525"/>
            <a:ext cx="137160" cy="137160"/>
          </a:xfrm>
          <a:prstGeom prst="triangle">
            <a:avLst/>
          </a:prstGeom>
          <a:solidFill>
            <a:srgbClr val="FF0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0" name="Isosceles Triangle 329">
            <a:extLst>
              <a:ext uri="{FF2B5EF4-FFF2-40B4-BE49-F238E27FC236}">
                <a16:creationId xmlns:a16="http://schemas.microsoft.com/office/drawing/2014/main" id="{978EE0B4-FFEB-47AD-982B-03F02960CD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25496" y="65525"/>
            <a:ext cx="137160" cy="137160"/>
          </a:xfrm>
          <a:prstGeom prst="triangle">
            <a:avLst/>
          </a:prstGeom>
          <a:solidFill>
            <a:srgbClr val="FFC00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1" name="TextBox 22">
            <a:extLst>
              <a:ext uri="{FF2B5EF4-FFF2-40B4-BE49-F238E27FC236}">
                <a16:creationId xmlns:a16="http://schemas.microsoft.com/office/drawing/2014/main" id="{989091E2-725D-41FA-85B7-17D53DBBE0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88684" y="26383"/>
            <a:ext cx="6078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n Track</a:t>
            </a:r>
          </a:p>
        </p:txBody>
      </p:sp>
      <p:sp>
        <p:nvSpPr>
          <p:cNvPr id="332" name="Isosceles Triangle 331">
            <a:extLst>
              <a:ext uri="{FF2B5EF4-FFF2-40B4-BE49-F238E27FC236}">
                <a16:creationId xmlns:a16="http://schemas.microsoft.com/office/drawing/2014/main" id="{F45CD320-1EB8-4B67-A96B-30ED8F901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344568" y="65525"/>
            <a:ext cx="137160" cy="137160"/>
          </a:xfrm>
          <a:prstGeom prst="triangle">
            <a:avLst/>
          </a:prstGeom>
          <a:solidFill>
            <a:srgbClr val="007770"/>
          </a:solidFill>
          <a:ln w="3175" algn="ctr">
            <a:noFill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2"/>
                </a:solidFill>
                <a:latin typeface="Univers 55" panose="02000000000000000000" pitchFamily="2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625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C445616-1CD3-42E8-9AF0-C1ED8887A7A3}"/>
              </a:ext>
            </a:extLst>
          </p:cNvPr>
          <p:cNvSpPr/>
          <p:nvPr userDrawn="1"/>
        </p:nvSpPr>
        <p:spPr>
          <a:xfrm>
            <a:off x="7543800" y="26383"/>
            <a:ext cx="4419600" cy="21544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2. Slide Title">
            <a:extLst>
              <a:ext uri="{FF2B5EF4-FFF2-40B4-BE49-F238E27FC236}">
                <a16:creationId xmlns:a16="http://schemas.microsoft.com/office/drawing/2014/main" id="{A42316FB-BE47-4CAC-99D9-6887C02C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3" name="Text Placeholder 4">
            <a:extLst>
              <a:ext uri="{FF2B5EF4-FFF2-40B4-BE49-F238E27FC236}">
                <a16:creationId xmlns:a16="http://schemas.microsoft.com/office/drawing/2014/main" id="{67EAB526-29E1-4165-87FC-5211E6FAF2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6200000">
            <a:off x="23356" y="1791556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0" name="Text Placeholder 4">
            <a:extLst>
              <a:ext uri="{FF2B5EF4-FFF2-40B4-BE49-F238E27FC236}">
                <a16:creationId xmlns:a16="http://schemas.microsoft.com/office/drawing/2014/main" id="{543F4CE9-00F8-4F6F-8318-045D00C438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6200000">
            <a:off x="23356" y="2801214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0C703D68-C70B-4937-A8D9-EDBD8A5103A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6200000">
            <a:off x="23356" y="3810460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53399457-45AC-4E2E-9F88-BFCF0FC071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 rot="16200000">
            <a:off x="23356" y="4820118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7B3C31E7-954D-42B9-840E-0BD765CE21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 rot="16200000">
            <a:off x="23356" y="5829260"/>
            <a:ext cx="972500" cy="329742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buFont typeface="Arial" panose="020B0604020202020204" pitchFamily="34" charset="0"/>
              <a:buNone/>
              <a:defRPr sz="1000"/>
            </a:lvl1pPr>
          </a:lstStyle>
          <a:p>
            <a:pPr lvl="0"/>
            <a:r>
              <a:rPr lang="en-US" dirty="0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2785700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753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5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tags" Target="../tags/tag321.xml"/><Relationship Id="rId18" Type="http://schemas.openxmlformats.org/officeDocument/2006/relationships/tags" Target="../tags/tag326.xml"/><Relationship Id="rId26" Type="http://schemas.openxmlformats.org/officeDocument/2006/relationships/tags" Target="../tags/tag334.xml"/><Relationship Id="rId3" Type="http://schemas.openxmlformats.org/officeDocument/2006/relationships/slideLayout" Target="../slideLayouts/slideLayout52.xml"/><Relationship Id="rId21" Type="http://schemas.openxmlformats.org/officeDocument/2006/relationships/tags" Target="../tags/tag329.xml"/><Relationship Id="rId7" Type="http://schemas.openxmlformats.org/officeDocument/2006/relationships/slideLayout" Target="../slideLayouts/slideLayout56.xml"/><Relationship Id="rId12" Type="http://schemas.openxmlformats.org/officeDocument/2006/relationships/vmlDrawing" Target="../drawings/vmlDrawing52.vml"/><Relationship Id="rId17" Type="http://schemas.openxmlformats.org/officeDocument/2006/relationships/tags" Target="../tags/tag325.xml"/><Relationship Id="rId25" Type="http://schemas.openxmlformats.org/officeDocument/2006/relationships/tags" Target="../tags/tag333.xml"/><Relationship Id="rId2" Type="http://schemas.openxmlformats.org/officeDocument/2006/relationships/slideLayout" Target="../slideLayouts/slideLayout51.xml"/><Relationship Id="rId16" Type="http://schemas.openxmlformats.org/officeDocument/2006/relationships/tags" Target="../tags/tag324.xml"/><Relationship Id="rId20" Type="http://schemas.openxmlformats.org/officeDocument/2006/relationships/tags" Target="../tags/tag328.xml"/><Relationship Id="rId29" Type="http://schemas.openxmlformats.org/officeDocument/2006/relationships/tags" Target="../tags/tag337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theme" Target="../theme/theme10.xml"/><Relationship Id="rId24" Type="http://schemas.openxmlformats.org/officeDocument/2006/relationships/tags" Target="../tags/tag332.xml"/><Relationship Id="rId32" Type="http://schemas.openxmlformats.org/officeDocument/2006/relationships/image" Target="../media/image11.png"/><Relationship Id="rId5" Type="http://schemas.openxmlformats.org/officeDocument/2006/relationships/slideLayout" Target="../slideLayouts/slideLayout54.xml"/><Relationship Id="rId15" Type="http://schemas.openxmlformats.org/officeDocument/2006/relationships/tags" Target="../tags/tag323.xml"/><Relationship Id="rId23" Type="http://schemas.openxmlformats.org/officeDocument/2006/relationships/tags" Target="../tags/tag331.xml"/><Relationship Id="rId28" Type="http://schemas.openxmlformats.org/officeDocument/2006/relationships/tags" Target="../tags/tag336.xml"/><Relationship Id="rId10" Type="http://schemas.openxmlformats.org/officeDocument/2006/relationships/slideLayout" Target="../slideLayouts/slideLayout59.xml"/><Relationship Id="rId19" Type="http://schemas.openxmlformats.org/officeDocument/2006/relationships/tags" Target="../tags/tag327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tags" Target="../tags/tag322.xml"/><Relationship Id="rId22" Type="http://schemas.openxmlformats.org/officeDocument/2006/relationships/tags" Target="../tags/tag330.xml"/><Relationship Id="rId27" Type="http://schemas.openxmlformats.org/officeDocument/2006/relationships/tags" Target="../tags/tag335.xml"/><Relationship Id="rId30" Type="http://schemas.openxmlformats.org/officeDocument/2006/relationships/oleObject" Target="../embeddings/oleObject52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1.vml"/><Relationship Id="rId13" Type="http://schemas.openxmlformats.org/officeDocument/2006/relationships/tags" Target="../tags/tag935.xml"/><Relationship Id="rId18" Type="http://schemas.openxmlformats.org/officeDocument/2006/relationships/tags" Target="../tags/tag940.xml"/><Relationship Id="rId26" Type="http://schemas.openxmlformats.org/officeDocument/2006/relationships/oleObject" Target="../embeddings/oleObject61.bin"/><Relationship Id="rId3" Type="http://schemas.openxmlformats.org/officeDocument/2006/relationships/slideLayout" Target="../slideLayouts/slideLayout62.xml"/><Relationship Id="rId21" Type="http://schemas.openxmlformats.org/officeDocument/2006/relationships/tags" Target="../tags/tag943.xml"/><Relationship Id="rId7" Type="http://schemas.openxmlformats.org/officeDocument/2006/relationships/theme" Target="../theme/theme11.xml"/><Relationship Id="rId12" Type="http://schemas.openxmlformats.org/officeDocument/2006/relationships/tags" Target="../tags/tag934.xml"/><Relationship Id="rId17" Type="http://schemas.openxmlformats.org/officeDocument/2006/relationships/tags" Target="../tags/tag939.xml"/><Relationship Id="rId25" Type="http://schemas.openxmlformats.org/officeDocument/2006/relationships/tags" Target="../tags/tag947.xml"/><Relationship Id="rId2" Type="http://schemas.openxmlformats.org/officeDocument/2006/relationships/slideLayout" Target="../slideLayouts/slideLayout61.xml"/><Relationship Id="rId16" Type="http://schemas.openxmlformats.org/officeDocument/2006/relationships/tags" Target="../tags/tag938.xml"/><Relationship Id="rId20" Type="http://schemas.openxmlformats.org/officeDocument/2006/relationships/tags" Target="../tags/tag942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tags" Target="../tags/tag933.xml"/><Relationship Id="rId24" Type="http://schemas.openxmlformats.org/officeDocument/2006/relationships/tags" Target="../tags/tag946.xml"/><Relationship Id="rId5" Type="http://schemas.openxmlformats.org/officeDocument/2006/relationships/slideLayout" Target="../slideLayouts/slideLayout64.xml"/><Relationship Id="rId15" Type="http://schemas.openxmlformats.org/officeDocument/2006/relationships/tags" Target="../tags/tag937.xml"/><Relationship Id="rId23" Type="http://schemas.openxmlformats.org/officeDocument/2006/relationships/tags" Target="../tags/tag945.xml"/><Relationship Id="rId28" Type="http://schemas.openxmlformats.org/officeDocument/2006/relationships/image" Target="../media/image11.png"/><Relationship Id="rId10" Type="http://schemas.openxmlformats.org/officeDocument/2006/relationships/tags" Target="../tags/tag932.xml"/><Relationship Id="rId19" Type="http://schemas.openxmlformats.org/officeDocument/2006/relationships/tags" Target="../tags/tag941.xml"/><Relationship Id="rId4" Type="http://schemas.openxmlformats.org/officeDocument/2006/relationships/slideLayout" Target="../slideLayouts/slideLayout63.xml"/><Relationship Id="rId9" Type="http://schemas.openxmlformats.org/officeDocument/2006/relationships/tags" Target="../tags/tag931.xml"/><Relationship Id="rId14" Type="http://schemas.openxmlformats.org/officeDocument/2006/relationships/tags" Target="../tags/tag936.xml"/><Relationship Id="rId22" Type="http://schemas.openxmlformats.org/officeDocument/2006/relationships/tags" Target="../tags/tag944.xml"/><Relationship Id="rId27" Type="http://schemas.openxmlformats.org/officeDocument/2006/relationships/image" Target="../media/image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1049.xml"/><Relationship Id="rId13" Type="http://schemas.openxmlformats.org/officeDocument/2006/relationships/tags" Target="../tags/tag1054.xml"/><Relationship Id="rId18" Type="http://schemas.openxmlformats.org/officeDocument/2006/relationships/tags" Target="../tags/tag1059.xml"/><Relationship Id="rId26" Type="http://schemas.openxmlformats.org/officeDocument/2006/relationships/image" Target="../media/image18.png"/><Relationship Id="rId3" Type="http://schemas.openxmlformats.org/officeDocument/2006/relationships/slideLayout" Target="../slideLayouts/slideLayout68.xml"/><Relationship Id="rId21" Type="http://schemas.openxmlformats.org/officeDocument/2006/relationships/tags" Target="../tags/tag1062.xml"/><Relationship Id="rId7" Type="http://schemas.openxmlformats.org/officeDocument/2006/relationships/tags" Target="../tags/tag1048.xml"/><Relationship Id="rId12" Type="http://schemas.openxmlformats.org/officeDocument/2006/relationships/tags" Target="../tags/tag1053.xml"/><Relationship Id="rId17" Type="http://schemas.openxmlformats.org/officeDocument/2006/relationships/tags" Target="../tags/tag105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7.xml"/><Relationship Id="rId16" Type="http://schemas.openxmlformats.org/officeDocument/2006/relationships/tags" Target="../tags/tag1057.xml"/><Relationship Id="rId20" Type="http://schemas.openxmlformats.org/officeDocument/2006/relationships/tags" Target="../tags/tag1061.xml"/><Relationship Id="rId1" Type="http://schemas.openxmlformats.org/officeDocument/2006/relationships/slideLayout" Target="../slideLayouts/slideLayout66.xml"/><Relationship Id="rId6" Type="http://schemas.openxmlformats.org/officeDocument/2006/relationships/vmlDrawing" Target="../drawings/vmlDrawing66.vml"/><Relationship Id="rId11" Type="http://schemas.openxmlformats.org/officeDocument/2006/relationships/tags" Target="../tags/tag1052.xml"/><Relationship Id="rId24" Type="http://schemas.openxmlformats.org/officeDocument/2006/relationships/oleObject" Target="../embeddings/oleObject66.bin"/><Relationship Id="rId5" Type="http://schemas.openxmlformats.org/officeDocument/2006/relationships/theme" Target="../theme/theme12.xml"/><Relationship Id="rId15" Type="http://schemas.openxmlformats.org/officeDocument/2006/relationships/tags" Target="../tags/tag1056.xml"/><Relationship Id="rId23" Type="http://schemas.openxmlformats.org/officeDocument/2006/relationships/tags" Target="../tags/tag1064.xml"/><Relationship Id="rId10" Type="http://schemas.openxmlformats.org/officeDocument/2006/relationships/tags" Target="../tags/tag1051.xml"/><Relationship Id="rId19" Type="http://schemas.openxmlformats.org/officeDocument/2006/relationships/tags" Target="../tags/tag1060.xml"/><Relationship Id="rId4" Type="http://schemas.openxmlformats.org/officeDocument/2006/relationships/slideLayout" Target="../slideLayouts/slideLayout69.xml"/><Relationship Id="rId9" Type="http://schemas.openxmlformats.org/officeDocument/2006/relationships/tags" Target="../tags/tag1050.xml"/><Relationship Id="rId14" Type="http://schemas.openxmlformats.org/officeDocument/2006/relationships/tags" Target="../tags/tag1055.xml"/><Relationship Id="rId22" Type="http://schemas.openxmlformats.org/officeDocument/2006/relationships/tags" Target="../tags/tag1063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26" Type="http://schemas.openxmlformats.org/officeDocument/2006/relationships/tags" Target="../tags/tag1070.xml"/><Relationship Id="rId39" Type="http://schemas.openxmlformats.org/officeDocument/2006/relationships/tags" Target="../tags/tag1083.xml"/><Relationship Id="rId21" Type="http://schemas.openxmlformats.org/officeDocument/2006/relationships/slideLayout" Target="../slideLayouts/slideLayout90.xml"/><Relationship Id="rId34" Type="http://schemas.openxmlformats.org/officeDocument/2006/relationships/tags" Target="../tags/tag1078.xml"/><Relationship Id="rId42" Type="http://schemas.openxmlformats.org/officeDocument/2006/relationships/oleObject" Target="../embeddings/oleObject71.bin"/><Relationship Id="rId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slideLayout" Target="../slideLayouts/slideLayout89.xml"/><Relationship Id="rId29" Type="http://schemas.openxmlformats.org/officeDocument/2006/relationships/tags" Target="../tags/tag1073.xml"/><Relationship Id="rId41" Type="http://schemas.openxmlformats.org/officeDocument/2006/relationships/tags" Target="../tags/tag1085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vmlDrawing" Target="../drawings/vmlDrawing71.vml"/><Relationship Id="rId32" Type="http://schemas.openxmlformats.org/officeDocument/2006/relationships/tags" Target="../tags/tag1076.xml"/><Relationship Id="rId37" Type="http://schemas.openxmlformats.org/officeDocument/2006/relationships/tags" Target="../tags/tag1081.xml"/><Relationship Id="rId40" Type="http://schemas.openxmlformats.org/officeDocument/2006/relationships/tags" Target="../tags/tag1084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theme" Target="../theme/theme13.xml"/><Relationship Id="rId28" Type="http://schemas.openxmlformats.org/officeDocument/2006/relationships/tags" Target="../tags/tag1072.xml"/><Relationship Id="rId36" Type="http://schemas.openxmlformats.org/officeDocument/2006/relationships/tags" Target="../tags/tag1080.xml"/><Relationship Id="rId10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88.xml"/><Relationship Id="rId31" Type="http://schemas.openxmlformats.org/officeDocument/2006/relationships/tags" Target="../tags/tag1075.xml"/><Relationship Id="rId44" Type="http://schemas.openxmlformats.org/officeDocument/2006/relationships/image" Target="../media/image11.png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slideLayout" Target="../slideLayouts/slideLayout91.xml"/><Relationship Id="rId27" Type="http://schemas.openxmlformats.org/officeDocument/2006/relationships/tags" Target="../tags/tag1071.xml"/><Relationship Id="rId30" Type="http://schemas.openxmlformats.org/officeDocument/2006/relationships/tags" Target="../tags/tag1074.xml"/><Relationship Id="rId35" Type="http://schemas.openxmlformats.org/officeDocument/2006/relationships/tags" Target="../tags/tag1079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tags" Target="../tags/tag1069.xml"/><Relationship Id="rId33" Type="http://schemas.openxmlformats.org/officeDocument/2006/relationships/tags" Target="../tags/tag1077.xml"/><Relationship Id="rId38" Type="http://schemas.openxmlformats.org/officeDocument/2006/relationships/tags" Target="../tags/tag1082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heme" Target="../theme/theme14.xml"/><Relationship Id="rId13" Type="http://schemas.openxmlformats.org/officeDocument/2006/relationships/tags" Target="../tags/tag2706.xml"/><Relationship Id="rId18" Type="http://schemas.openxmlformats.org/officeDocument/2006/relationships/tags" Target="../tags/tag2711.xml"/><Relationship Id="rId26" Type="http://schemas.openxmlformats.org/officeDocument/2006/relationships/tags" Target="../tags/tag2719.xml"/><Relationship Id="rId3" Type="http://schemas.openxmlformats.org/officeDocument/2006/relationships/slideLayout" Target="../slideLayouts/slideLayout94.xml"/><Relationship Id="rId21" Type="http://schemas.openxmlformats.org/officeDocument/2006/relationships/tags" Target="../tags/tag2714.xml"/><Relationship Id="rId7" Type="http://schemas.openxmlformats.org/officeDocument/2006/relationships/slideLayout" Target="../slideLayouts/slideLayout98.xml"/><Relationship Id="rId12" Type="http://schemas.openxmlformats.org/officeDocument/2006/relationships/tags" Target="../tags/tag2705.xml"/><Relationship Id="rId17" Type="http://schemas.openxmlformats.org/officeDocument/2006/relationships/tags" Target="../tags/tag2710.xml"/><Relationship Id="rId25" Type="http://schemas.openxmlformats.org/officeDocument/2006/relationships/tags" Target="../tags/tag2718.xml"/><Relationship Id="rId2" Type="http://schemas.openxmlformats.org/officeDocument/2006/relationships/slideLayout" Target="../slideLayouts/slideLayout93.xml"/><Relationship Id="rId16" Type="http://schemas.openxmlformats.org/officeDocument/2006/relationships/tags" Target="../tags/tag2709.xml"/><Relationship Id="rId20" Type="http://schemas.openxmlformats.org/officeDocument/2006/relationships/tags" Target="../tags/tag2713.xml"/><Relationship Id="rId29" Type="http://schemas.openxmlformats.org/officeDocument/2006/relationships/image" Target="../media/image11.png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tags" Target="../tags/tag2704.xml"/><Relationship Id="rId24" Type="http://schemas.openxmlformats.org/officeDocument/2006/relationships/tags" Target="../tags/tag2717.xml"/><Relationship Id="rId5" Type="http://schemas.openxmlformats.org/officeDocument/2006/relationships/slideLayout" Target="../slideLayouts/slideLayout96.xml"/><Relationship Id="rId15" Type="http://schemas.openxmlformats.org/officeDocument/2006/relationships/tags" Target="../tags/tag2708.xml"/><Relationship Id="rId23" Type="http://schemas.openxmlformats.org/officeDocument/2006/relationships/tags" Target="../tags/tag2716.xml"/><Relationship Id="rId28" Type="http://schemas.openxmlformats.org/officeDocument/2006/relationships/image" Target="../media/image1.emf"/><Relationship Id="rId10" Type="http://schemas.openxmlformats.org/officeDocument/2006/relationships/tags" Target="../tags/tag2703.xml"/><Relationship Id="rId19" Type="http://schemas.openxmlformats.org/officeDocument/2006/relationships/tags" Target="../tags/tag2712.xml"/><Relationship Id="rId4" Type="http://schemas.openxmlformats.org/officeDocument/2006/relationships/slideLayout" Target="../slideLayouts/slideLayout95.xml"/><Relationship Id="rId9" Type="http://schemas.openxmlformats.org/officeDocument/2006/relationships/vmlDrawing" Target="../drawings/vmlDrawing92.vml"/><Relationship Id="rId14" Type="http://schemas.openxmlformats.org/officeDocument/2006/relationships/tags" Target="../tags/tag2707.xml"/><Relationship Id="rId22" Type="http://schemas.openxmlformats.org/officeDocument/2006/relationships/tags" Target="../tags/tag2715.xml"/><Relationship Id="rId27" Type="http://schemas.openxmlformats.org/officeDocument/2006/relationships/oleObject" Target="../embeddings/oleObject92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38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1" Type="http://schemas.openxmlformats.org/officeDocument/2006/relationships/slideLayout" Target="../slideLayouts/slideLayout6.xml"/><Relationship Id="rId6" Type="http://schemas.openxmlformats.org/officeDocument/2006/relationships/vmlDrawing" Target="../drawings/vmlDrawing7.vml"/><Relationship Id="rId11" Type="http://schemas.openxmlformats.org/officeDocument/2006/relationships/tags" Target="../tags/tag28.xml"/><Relationship Id="rId24" Type="http://schemas.openxmlformats.org/officeDocument/2006/relationships/oleObject" Target="../embeddings/oleObject7.bin"/><Relationship Id="rId5" Type="http://schemas.openxmlformats.org/officeDocument/2006/relationships/theme" Target="../theme/theme2.x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1.v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26" Type="http://schemas.openxmlformats.org/officeDocument/2006/relationships/oleObject" Target="../embeddings/oleObject11.bin"/><Relationship Id="rId3" Type="http://schemas.openxmlformats.org/officeDocument/2006/relationships/slideLayout" Target="../slideLayouts/slideLayout12.xml"/><Relationship Id="rId21" Type="http://schemas.openxmlformats.org/officeDocument/2006/relationships/tags" Target="../tags/tag59.xml"/><Relationship Id="rId7" Type="http://schemas.openxmlformats.org/officeDocument/2006/relationships/theme" Target="../theme/theme3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tags" Target="../tags/tag63.xml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54.xml"/><Relationship Id="rId20" Type="http://schemas.openxmlformats.org/officeDocument/2006/relationships/tags" Target="../tags/tag58.xml"/><Relationship Id="rId29" Type="http://schemas.openxmlformats.org/officeDocument/2006/relationships/image" Target="../media/image14.png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ags" Target="../tags/tag49.xml"/><Relationship Id="rId24" Type="http://schemas.openxmlformats.org/officeDocument/2006/relationships/tags" Target="../tags/tag62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53.xml"/><Relationship Id="rId23" Type="http://schemas.openxmlformats.org/officeDocument/2006/relationships/tags" Target="../tags/tag61.xml"/><Relationship Id="rId28" Type="http://schemas.openxmlformats.org/officeDocument/2006/relationships/image" Target="../media/image13.gif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tags" Target="../tags/tag60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tags" Target="../tags/tag80.xml"/><Relationship Id="rId18" Type="http://schemas.openxmlformats.org/officeDocument/2006/relationships/tags" Target="../tags/tag85.xml"/><Relationship Id="rId26" Type="http://schemas.openxmlformats.org/officeDocument/2006/relationships/image" Target="../media/image18.png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88.xml"/><Relationship Id="rId7" Type="http://schemas.openxmlformats.org/officeDocument/2006/relationships/tags" Target="../tags/tag74.xml"/><Relationship Id="rId12" Type="http://schemas.openxmlformats.org/officeDocument/2006/relationships/tags" Target="../tags/tag79.xml"/><Relationship Id="rId17" Type="http://schemas.openxmlformats.org/officeDocument/2006/relationships/tags" Target="../tags/tag8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83.xml"/><Relationship Id="rId20" Type="http://schemas.openxmlformats.org/officeDocument/2006/relationships/tags" Target="../tags/tag87.xml"/><Relationship Id="rId1" Type="http://schemas.openxmlformats.org/officeDocument/2006/relationships/slideLayout" Target="../slideLayouts/slideLayout16.xml"/><Relationship Id="rId6" Type="http://schemas.openxmlformats.org/officeDocument/2006/relationships/vmlDrawing" Target="../drawings/vmlDrawing17.vml"/><Relationship Id="rId11" Type="http://schemas.openxmlformats.org/officeDocument/2006/relationships/tags" Target="../tags/tag78.xml"/><Relationship Id="rId24" Type="http://schemas.openxmlformats.org/officeDocument/2006/relationships/oleObject" Target="../embeddings/oleObject17.bin"/><Relationship Id="rId5" Type="http://schemas.openxmlformats.org/officeDocument/2006/relationships/theme" Target="../theme/theme4.xml"/><Relationship Id="rId15" Type="http://schemas.openxmlformats.org/officeDocument/2006/relationships/tags" Target="../tags/tag82.xml"/><Relationship Id="rId23" Type="http://schemas.openxmlformats.org/officeDocument/2006/relationships/tags" Target="../tags/tag90.xml"/><Relationship Id="rId10" Type="http://schemas.openxmlformats.org/officeDocument/2006/relationships/tags" Target="../tags/tag77.xml"/><Relationship Id="rId19" Type="http://schemas.openxmlformats.org/officeDocument/2006/relationships/tags" Target="../tags/tag86.xml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76.xml"/><Relationship Id="rId14" Type="http://schemas.openxmlformats.org/officeDocument/2006/relationships/tags" Target="../tags/tag81.xml"/><Relationship Id="rId22" Type="http://schemas.openxmlformats.org/officeDocument/2006/relationships/tags" Target="../tags/tag8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18" Type="http://schemas.openxmlformats.org/officeDocument/2006/relationships/tags" Target="../tags/tag106.xml"/><Relationship Id="rId26" Type="http://schemas.openxmlformats.org/officeDocument/2006/relationships/image" Target="../media/image18.png"/><Relationship Id="rId3" Type="http://schemas.openxmlformats.org/officeDocument/2006/relationships/slideLayout" Target="../slideLayouts/slideLayout22.xml"/><Relationship Id="rId21" Type="http://schemas.openxmlformats.org/officeDocument/2006/relationships/tags" Target="../tags/tag109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17" Type="http://schemas.openxmlformats.org/officeDocument/2006/relationships/tags" Target="../tags/tag10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tags" Target="../tags/tag104.xml"/><Relationship Id="rId20" Type="http://schemas.openxmlformats.org/officeDocument/2006/relationships/tags" Target="../tags/tag108.xml"/><Relationship Id="rId1" Type="http://schemas.openxmlformats.org/officeDocument/2006/relationships/slideLayout" Target="../slideLayouts/slideLayout20.xml"/><Relationship Id="rId6" Type="http://schemas.openxmlformats.org/officeDocument/2006/relationships/vmlDrawing" Target="../drawings/vmlDrawing22.vml"/><Relationship Id="rId11" Type="http://schemas.openxmlformats.org/officeDocument/2006/relationships/tags" Target="../tags/tag99.xml"/><Relationship Id="rId24" Type="http://schemas.openxmlformats.org/officeDocument/2006/relationships/oleObject" Target="../embeddings/oleObject22.bin"/><Relationship Id="rId5" Type="http://schemas.openxmlformats.org/officeDocument/2006/relationships/theme" Target="../theme/theme5.xml"/><Relationship Id="rId15" Type="http://schemas.openxmlformats.org/officeDocument/2006/relationships/tags" Target="../tags/tag103.xml"/><Relationship Id="rId23" Type="http://schemas.openxmlformats.org/officeDocument/2006/relationships/tags" Target="../tags/tag111.xml"/><Relationship Id="rId10" Type="http://schemas.openxmlformats.org/officeDocument/2006/relationships/tags" Target="../tags/tag98.xml"/><Relationship Id="rId19" Type="http://schemas.openxmlformats.org/officeDocument/2006/relationships/tags" Target="../tags/tag107.xml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97.xml"/><Relationship Id="rId14" Type="http://schemas.openxmlformats.org/officeDocument/2006/relationships/tags" Target="../tags/tag102.xml"/><Relationship Id="rId22" Type="http://schemas.openxmlformats.org/officeDocument/2006/relationships/tags" Target="../tags/tag11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118.xml"/><Relationship Id="rId18" Type="http://schemas.openxmlformats.org/officeDocument/2006/relationships/tags" Target="../tags/tag123.xml"/><Relationship Id="rId26" Type="http://schemas.openxmlformats.org/officeDocument/2006/relationships/tags" Target="../tags/tag131.xml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126.xml"/><Relationship Id="rId7" Type="http://schemas.openxmlformats.org/officeDocument/2006/relationships/slideLayout" Target="../slideLayouts/slideLayout30.xml"/><Relationship Id="rId12" Type="http://schemas.openxmlformats.org/officeDocument/2006/relationships/tags" Target="../tags/tag117.xml"/><Relationship Id="rId17" Type="http://schemas.openxmlformats.org/officeDocument/2006/relationships/tags" Target="../tags/tag122.xml"/><Relationship Id="rId25" Type="http://schemas.openxmlformats.org/officeDocument/2006/relationships/tags" Target="../tags/tag130.xml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121.xml"/><Relationship Id="rId20" Type="http://schemas.openxmlformats.org/officeDocument/2006/relationships/tags" Target="../tags/tag125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tags" Target="../tags/tag116.xml"/><Relationship Id="rId24" Type="http://schemas.openxmlformats.org/officeDocument/2006/relationships/tags" Target="../tags/tag129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120.xml"/><Relationship Id="rId23" Type="http://schemas.openxmlformats.org/officeDocument/2006/relationships/tags" Target="../tags/tag128.xml"/><Relationship Id="rId28" Type="http://schemas.openxmlformats.org/officeDocument/2006/relationships/oleObject" Target="../embeddings/oleObject27.bin"/><Relationship Id="rId10" Type="http://schemas.openxmlformats.org/officeDocument/2006/relationships/vmlDrawing" Target="../drawings/vmlDrawing27.vml"/><Relationship Id="rId19" Type="http://schemas.openxmlformats.org/officeDocument/2006/relationships/tags" Target="../tags/tag124.xml"/><Relationship Id="rId4" Type="http://schemas.openxmlformats.org/officeDocument/2006/relationships/slideLayout" Target="../slideLayouts/slideLayout27.xml"/><Relationship Id="rId9" Type="http://schemas.openxmlformats.org/officeDocument/2006/relationships/theme" Target="../theme/theme6.xml"/><Relationship Id="rId14" Type="http://schemas.openxmlformats.org/officeDocument/2006/relationships/tags" Target="../tags/tag119.xml"/><Relationship Id="rId22" Type="http://schemas.openxmlformats.org/officeDocument/2006/relationships/tags" Target="../tags/tag127.xml"/><Relationship Id="rId27" Type="http://schemas.openxmlformats.org/officeDocument/2006/relationships/tags" Target="../tags/tag13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tags" Target="../tags/tag149.xml"/><Relationship Id="rId18" Type="http://schemas.openxmlformats.org/officeDocument/2006/relationships/tags" Target="../tags/tag154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4.xml"/><Relationship Id="rId21" Type="http://schemas.openxmlformats.org/officeDocument/2006/relationships/tags" Target="../tags/tag157.xml"/><Relationship Id="rId7" Type="http://schemas.openxmlformats.org/officeDocument/2006/relationships/vmlDrawing" Target="../drawings/vmlDrawing34.vml"/><Relationship Id="rId12" Type="http://schemas.openxmlformats.org/officeDocument/2006/relationships/tags" Target="../tags/tag148.xml"/><Relationship Id="rId17" Type="http://schemas.openxmlformats.org/officeDocument/2006/relationships/tags" Target="../tags/tag153.xml"/><Relationship Id="rId25" Type="http://schemas.openxmlformats.org/officeDocument/2006/relationships/oleObject" Target="../embeddings/oleObject34.bin"/><Relationship Id="rId2" Type="http://schemas.openxmlformats.org/officeDocument/2006/relationships/slideLayout" Target="../slideLayouts/slideLayout33.xml"/><Relationship Id="rId16" Type="http://schemas.openxmlformats.org/officeDocument/2006/relationships/tags" Target="../tags/tag152.xml"/><Relationship Id="rId20" Type="http://schemas.openxmlformats.org/officeDocument/2006/relationships/tags" Target="../tags/tag156.xml"/><Relationship Id="rId1" Type="http://schemas.openxmlformats.org/officeDocument/2006/relationships/slideLayout" Target="../slideLayouts/slideLayout32.xml"/><Relationship Id="rId6" Type="http://schemas.openxmlformats.org/officeDocument/2006/relationships/theme" Target="../theme/theme7.xml"/><Relationship Id="rId11" Type="http://schemas.openxmlformats.org/officeDocument/2006/relationships/tags" Target="../tags/tag147.xml"/><Relationship Id="rId24" Type="http://schemas.openxmlformats.org/officeDocument/2006/relationships/tags" Target="../tags/tag160.xml"/><Relationship Id="rId5" Type="http://schemas.openxmlformats.org/officeDocument/2006/relationships/slideLayout" Target="../slideLayouts/slideLayout36.xml"/><Relationship Id="rId15" Type="http://schemas.openxmlformats.org/officeDocument/2006/relationships/tags" Target="../tags/tag151.xml"/><Relationship Id="rId23" Type="http://schemas.openxmlformats.org/officeDocument/2006/relationships/tags" Target="../tags/tag159.xml"/><Relationship Id="rId10" Type="http://schemas.openxmlformats.org/officeDocument/2006/relationships/tags" Target="../tags/tag146.xml"/><Relationship Id="rId19" Type="http://schemas.openxmlformats.org/officeDocument/2006/relationships/tags" Target="../tags/tag155.xml"/><Relationship Id="rId4" Type="http://schemas.openxmlformats.org/officeDocument/2006/relationships/slideLayout" Target="../slideLayouts/slideLayout35.xml"/><Relationship Id="rId9" Type="http://schemas.openxmlformats.org/officeDocument/2006/relationships/tags" Target="../tags/tag145.xml"/><Relationship Id="rId14" Type="http://schemas.openxmlformats.org/officeDocument/2006/relationships/tags" Target="../tags/tag150.xml"/><Relationship Id="rId22" Type="http://schemas.openxmlformats.org/officeDocument/2006/relationships/tags" Target="../tags/tag158.xml"/><Relationship Id="rId27" Type="http://schemas.openxmlformats.org/officeDocument/2006/relationships/image" Target="../media/image11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13" Type="http://schemas.openxmlformats.org/officeDocument/2006/relationships/tags" Target="../tags/tag173.xml"/><Relationship Id="rId18" Type="http://schemas.openxmlformats.org/officeDocument/2006/relationships/tags" Target="../tags/tag178.xml"/><Relationship Id="rId26" Type="http://schemas.openxmlformats.org/officeDocument/2006/relationships/tags" Target="../tags/tag186.xml"/><Relationship Id="rId3" Type="http://schemas.openxmlformats.org/officeDocument/2006/relationships/slideLayout" Target="../slideLayouts/slideLayout39.xml"/><Relationship Id="rId21" Type="http://schemas.openxmlformats.org/officeDocument/2006/relationships/tags" Target="../tags/tag181.xml"/><Relationship Id="rId7" Type="http://schemas.openxmlformats.org/officeDocument/2006/relationships/slideLayout" Target="../slideLayouts/slideLayout43.xml"/><Relationship Id="rId12" Type="http://schemas.openxmlformats.org/officeDocument/2006/relationships/tags" Target="../tags/tag172.xml"/><Relationship Id="rId17" Type="http://schemas.openxmlformats.org/officeDocument/2006/relationships/tags" Target="../tags/tag177.xml"/><Relationship Id="rId25" Type="http://schemas.openxmlformats.org/officeDocument/2006/relationships/tags" Target="../tags/tag185.xml"/><Relationship Id="rId2" Type="http://schemas.openxmlformats.org/officeDocument/2006/relationships/slideLayout" Target="../slideLayouts/slideLayout38.xml"/><Relationship Id="rId16" Type="http://schemas.openxmlformats.org/officeDocument/2006/relationships/tags" Target="../tags/tag176.xml"/><Relationship Id="rId20" Type="http://schemas.openxmlformats.org/officeDocument/2006/relationships/tags" Target="../tags/tag180.xml"/><Relationship Id="rId29" Type="http://schemas.openxmlformats.org/officeDocument/2006/relationships/image" Target="../media/image18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tags" Target="../tags/tag171.xml"/><Relationship Id="rId24" Type="http://schemas.openxmlformats.org/officeDocument/2006/relationships/tags" Target="../tags/tag184.xml"/><Relationship Id="rId5" Type="http://schemas.openxmlformats.org/officeDocument/2006/relationships/slideLayout" Target="../slideLayouts/slideLayout41.xml"/><Relationship Id="rId15" Type="http://schemas.openxmlformats.org/officeDocument/2006/relationships/tags" Target="../tags/tag175.xml"/><Relationship Id="rId23" Type="http://schemas.openxmlformats.org/officeDocument/2006/relationships/tags" Target="../tags/tag183.xml"/><Relationship Id="rId28" Type="http://schemas.openxmlformats.org/officeDocument/2006/relationships/image" Target="../media/image1.emf"/><Relationship Id="rId10" Type="http://schemas.openxmlformats.org/officeDocument/2006/relationships/tags" Target="../tags/tag170.xml"/><Relationship Id="rId19" Type="http://schemas.openxmlformats.org/officeDocument/2006/relationships/tags" Target="../tags/tag179.xml"/><Relationship Id="rId4" Type="http://schemas.openxmlformats.org/officeDocument/2006/relationships/slideLayout" Target="../slideLayouts/slideLayout40.xml"/><Relationship Id="rId9" Type="http://schemas.openxmlformats.org/officeDocument/2006/relationships/vmlDrawing" Target="../drawings/vmlDrawing39.vml"/><Relationship Id="rId14" Type="http://schemas.openxmlformats.org/officeDocument/2006/relationships/tags" Target="../tags/tag174.xml"/><Relationship Id="rId22" Type="http://schemas.openxmlformats.org/officeDocument/2006/relationships/tags" Target="../tags/tag182.xml"/><Relationship Id="rId27" Type="http://schemas.openxmlformats.org/officeDocument/2006/relationships/oleObject" Target="../embeddings/oleObject39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6.vml"/><Relationship Id="rId13" Type="http://schemas.openxmlformats.org/officeDocument/2006/relationships/tags" Target="../tags/tag204.xml"/><Relationship Id="rId18" Type="http://schemas.openxmlformats.org/officeDocument/2006/relationships/tags" Target="../tags/tag209.xml"/><Relationship Id="rId26" Type="http://schemas.openxmlformats.org/officeDocument/2006/relationships/oleObject" Target="../embeddings/oleObject46.bin"/><Relationship Id="rId3" Type="http://schemas.openxmlformats.org/officeDocument/2006/relationships/slideLayout" Target="../slideLayouts/slideLayout46.xml"/><Relationship Id="rId21" Type="http://schemas.openxmlformats.org/officeDocument/2006/relationships/tags" Target="../tags/tag212.xml"/><Relationship Id="rId7" Type="http://schemas.openxmlformats.org/officeDocument/2006/relationships/theme" Target="../theme/theme9.xml"/><Relationship Id="rId12" Type="http://schemas.openxmlformats.org/officeDocument/2006/relationships/tags" Target="../tags/tag203.xml"/><Relationship Id="rId17" Type="http://schemas.openxmlformats.org/officeDocument/2006/relationships/tags" Target="../tags/tag208.xml"/><Relationship Id="rId25" Type="http://schemas.openxmlformats.org/officeDocument/2006/relationships/tags" Target="../tags/tag216.xml"/><Relationship Id="rId2" Type="http://schemas.openxmlformats.org/officeDocument/2006/relationships/slideLayout" Target="../slideLayouts/slideLayout45.xml"/><Relationship Id="rId16" Type="http://schemas.openxmlformats.org/officeDocument/2006/relationships/tags" Target="../tags/tag207.xml"/><Relationship Id="rId20" Type="http://schemas.openxmlformats.org/officeDocument/2006/relationships/tags" Target="../tags/tag211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tags" Target="../tags/tag202.xml"/><Relationship Id="rId24" Type="http://schemas.openxmlformats.org/officeDocument/2006/relationships/tags" Target="../tags/tag215.xml"/><Relationship Id="rId5" Type="http://schemas.openxmlformats.org/officeDocument/2006/relationships/slideLayout" Target="../slideLayouts/slideLayout48.xml"/><Relationship Id="rId15" Type="http://schemas.openxmlformats.org/officeDocument/2006/relationships/tags" Target="../tags/tag206.xml"/><Relationship Id="rId23" Type="http://schemas.openxmlformats.org/officeDocument/2006/relationships/tags" Target="../tags/tag214.xml"/><Relationship Id="rId28" Type="http://schemas.openxmlformats.org/officeDocument/2006/relationships/image" Target="../media/image11.png"/><Relationship Id="rId10" Type="http://schemas.openxmlformats.org/officeDocument/2006/relationships/tags" Target="../tags/tag201.xml"/><Relationship Id="rId19" Type="http://schemas.openxmlformats.org/officeDocument/2006/relationships/tags" Target="../tags/tag210.xml"/><Relationship Id="rId4" Type="http://schemas.openxmlformats.org/officeDocument/2006/relationships/slideLayout" Target="../slideLayouts/slideLayout47.xml"/><Relationship Id="rId9" Type="http://schemas.openxmlformats.org/officeDocument/2006/relationships/tags" Target="../tags/tag200.xml"/><Relationship Id="rId14" Type="http://schemas.openxmlformats.org/officeDocument/2006/relationships/tags" Target="../tags/tag205.xml"/><Relationship Id="rId22" Type="http://schemas.openxmlformats.org/officeDocument/2006/relationships/tags" Target="../tags/tag213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3999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 dirty="0">
                <a:solidFill>
                  <a:srgbClr val="808080"/>
                </a:solidFill>
                <a:latin typeface="+mn-lt"/>
                <a:ea typeface="+mn-ea"/>
              </a:rPr>
              <a:t>Last Modified 23/08/2020 10:12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48114" y="4197039"/>
            <a:ext cx="1697714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Printed 3/10/2020 8:41 AM India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GB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32" baseline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7" y="6377535"/>
            <a:ext cx="117254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846" indent="-85846">
              <a:defRPr lang="x-none"/>
            </a:pPr>
            <a:r>
              <a:rPr lang="x-none" sz="816" baseline="0">
                <a:solidFill>
                  <a:srgbClr val="808080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6" y="6639225"/>
            <a:ext cx="1046329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524791" indent="-524791" defTabSz="913526">
              <a:tabLst>
                <a:tab pos="625214" algn="l"/>
              </a:tabLst>
            </a:pPr>
            <a:r>
              <a:rPr lang="x-none" sz="816" baseline="0">
                <a:solidFill>
                  <a:schemeClr val="bg1"/>
                </a:solidFill>
                <a:latin typeface="+mn-lt"/>
                <a:ea typeface="+mn-ea"/>
              </a:rPr>
              <a:t>SOURCE : Source</a:t>
            </a:r>
          </a:p>
        </p:txBody>
      </p:sp>
      <p:grpSp>
        <p:nvGrpSpPr>
          <p:cNvPr id="67" name="LegendBoxes" hidden="1"/>
          <p:cNvGrpSpPr>
            <a:grpSpLocks/>
          </p:cNvGrpSpPr>
          <p:nvPr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</p:grpSp>
      <p:grpSp>
        <p:nvGrpSpPr>
          <p:cNvPr id="83" name="Sticker" hidden="1"/>
          <p:cNvGrpSpPr/>
          <p:nvPr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02944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02944" y="438997"/>
              <a:ext cx="73783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/>
        </p:nvPicPr>
        <p:blipFill rotWithShape="1">
          <a:blip r:embed="rId27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4FF0B731-1933-417C-888F-25E256A949C9}"/>
              </a:ext>
            </a:extLst>
          </p:cNvPr>
          <p:cNvSpPr txBox="1"/>
          <p:nvPr userDrawn="1"/>
        </p:nvSpPr>
        <p:spPr>
          <a:xfrm>
            <a:off x="300424" y="6587861"/>
            <a:ext cx="1063459" cy="2223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16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2638862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D3517D4-8AE5-454B-B6F0-98232E7DF0F9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1064592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noProof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106313" y="1980016"/>
            <a:ext cx="198131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 noProof="0">
                <a:latin typeface="+mn-lt"/>
                <a:ea typeface="+mn-ea"/>
              </a:rPr>
              <a:t>Last Modified 11/7/2017 9:16 AM Arabian Standard Time</a:t>
            </a:r>
            <a:endParaRPr lang="en-US" sz="1632" baseline="0" noProof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86651" y="4197996"/>
            <a:ext cx="1620636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noProof="0">
                <a:latin typeface="+mn-lt"/>
                <a:ea typeface="+mn-ea"/>
              </a:rPr>
              <a:t>Printed 2/5/2016 5:38 AM India Standard Time</a:t>
            </a:r>
            <a:endParaRPr lang="en-US" sz="1632" baseline="0" noProof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 baseline="0" noProof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54261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297956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2" name="Rectangle 21"/>
          <p:cNvSpPr/>
          <p:nvPr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23" name="Slide Number"/>
          <p:cNvSpPr txBox="1">
            <a:spLocks/>
          </p:cNvSpPr>
          <p:nvPr/>
        </p:nvSpPr>
        <p:spPr bwMode="auto">
          <a:xfrm>
            <a:off x="11800046" y="6532392"/>
            <a:ext cx="158697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20" smtClean="0"/>
              <a:pPr lvl="0" algn="r"/>
              <a:t>‹#›</a:t>
            </a:fld>
            <a:endParaRPr lang="en-US" sz="1020"/>
          </a:p>
        </p:txBody>
      </p:sp>
      <p:grpSp>
        <p:nvGrpSpPr>
          <p:cNvPr id="24" name="Slide Elements" hidden="1"/>
          <p:cNvGrpSpPr/>
          <p:nvPr/>
        </p:nvGrpSpPr>
        <p:grpSpPr bwMode="auto">
          <a:xfrm>
            <a:off x="233259" y="6310255"/>
            <a:ext cx="9408032" cy="379128"/>
            <a:chOff x="121488" y="6349556"/>
            <a:chExt cx="8794114" cy="371581"/>
          </a:xfrm>
        </p:grpSpPr>
        <p:sp>
          <p:nvSpPr>
            <p:cNvPr id="25" name="Slide Elements"/>
            <p:cNvSpPr txBox="1">
              <a:spLocks noChangeArrowheads="1"/>
            </p:cNvSpPr>
            <p:nvPr/>
          </p:nvSpPr>
          <p:spPr bwMode="auto">
            <a:xfrm>
              <a:off x="121488" y="6349556"/>
              <a:ext cx="8794114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 baseline="0" noProof="0">
                  <a:latin typeface="+mn-lt"/>
                </a:rPr>
                <a:t>1 Footnote</a:t>
              </a:r>
            </a:p>
          </p:txBody>
        </p:sp>
        <p:sp>
          <p:nvSpPr>
            <p:cNvPr id="26" name="Slide Elements"/>
            <p:cNvSpPr>
              <a:spLocks noChangeArrowheads="1"/>
            </p:cNvSpPr>
            <p:nvPr/>
          </p:nvSpPr>
          <p:spPr bwMode="auto">
            <a:xfrm>
              <a:off x="121488" y="6564171"/>
              <a:ext cx="879411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5214" indent="-625214" defTabSz="932071">
                <a:tabLst>
                  <a:tab pos="630074" algn="l"/>
                </a:tabLst>
              </a:pPr>
              <a:r>
                <a:rPr lang="en-US" sz="1020" baseline="0" noProof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27" name="LegendBoxes" hidden="1"/>
          <p:cNvGrpSpPr>
            <a:grpSpLocks/>
          </p:cNvGrpSpPr>
          <p:nvPr/>
        </p:nvGrpSpPr>
        <p:grpSpPr bwMode="auto">
          <a:xfrm>
            <a:off x="10919880" y="296414"/>
            <a:ext cx="863916" cy="1017202"/>
            <a:chOff x="4936" y="176"/>
            <a:chExt cx="400" cy="628"/>
          </a:xfrm>
        </p:grpSpPr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2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36" name="LegendLines" hidden="1"/>
          <p:cNvGrpSpPr>
            <a:grpSpLocks/>
          </p:cNvGrpSpPr>
          <p:nvPr/>
        </p:nvGrpSpPr>
        <p:grpSpPr bwMode="auto">
          <a:xfrm>
            <a:off x="10500883" y="296414"/>
            <a:ext cx="1282915" cy="745084"/>
            <a:chOff x="4750" y="176"/>
            <a:chExt cx="594" cy="460"/>
          </a:xfrm>
        </p:grpSpPr>
        <p:sp>
          <p:nvSpPr>
            <p:cNvPr id="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</p:grpSp>
      <p:grpSp>
        <p:nvGrpSpPr>
          <p:cNvPr id="43" name="McKSticker" hidden="1"/>
          <p:cNvGrpSpPr/>
          <p:nvPr/>
        </p:nvGrpSpPr>
        <p:grpSpPr bwMode="auto">
          <a:xfrm>
            <a:off x="10474959" y="296413"/>
            <a:ext cx="1483784" cy="216679"/>
            <a:chOff x="7650155" y="285750"/>
            <a:chExt cx="1090620" cy="212366"/>
          </a:xfrm>
        </p:grpSpPr>
        <p:sp>
          <p:nvSpPr>
            <p:cNvPr id="44" name="StickerRectangle"/>
            <p:cNvSpPr>
              <a:spLocks noChangeArrowheads="1"/>
            </p:cNvSpPr>
            <p:nvPr/>
          </p:nvSpPr>
          <p:spPr bwMode="auto">
            <a:xfrm>
              <a:off x="7941310" y="285750"/>
              <a:ext cx="799465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>
                  <a:solidFill>
                    <a:srgbClr val="808080"/>
                  </a:solidFill>
                  <a:latin typeface="+mn-lt"/>
                  <a:ea typeface="Verdana" pitchFamily="34" charset="0"/>
                  <a:cs typeface="Verdana" pitchFamily="34" charset="0"/>
                </a:rPr>
                <a:t>PRELIMINARY</a:t>
              </a:r>
            </a:p>
          </p:txBody>
        </p:sp>
        <p:cxnSp>
          <p:nvCxnSpPr>
            <p:cNvPr id="45" name="AutoShape 31"/>
            <p:cNvCxnSpPr>
              <a:cxnSpLocks noChangeShapeType="1"/>
              <a:stCxn id="44" idx="2"/>
              <a:endCxn id="44" idx="4"/>
            </p:cNvCxnSpPr>
            <p:nvPr/>
          </p:nvCxnSpPr>
          <p:spPr bwMode="auto">
            <a:xfrm>
              <a:off x="765015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AutoShape 32"/>
            <p:cNvCxnSpPr>
              <a:cxnSpLocks noChangeShapeType="1"/>
              <a:stCxn id="44" idx="4"/>
              <a:endCxn id="44" idx="6"/>
            </p:cNvCxnSpPr>
            <p:nvPr/>
          </p:nvCxnSpPr>
          <p:spPr bwMode="auto">
            <a:xfrm>
              <a:off x="7650155" y="498116"/>
              <a:ext cx="109062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7" name="LegendMoons" hidden="1"/>
          <p:cNvGrpSpPr/>
          <p:nvPr/>
        </p:nvGrpSpPr>
        <p:grpSpPr bwMode="auto">
          <a:xfrm>
            <a:off x="10828951" y="296414"/>
            <a:ext cx="955651" cy="1333054"/>
            <a:chOff x="7875175" y="286625"/>
            <a:chExt cx="702428" cy="1306516"/>
          </a:xfrm>
        </p:grpSpPr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6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7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62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3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57" name="MoonLegend1"/>
            <p:cNvGrpSpPr>
              <a:grpSpLocks noChangeAspect="1"/>
            </p:cNvGrpSpPr>
            <p:nvPr userDrawn="1">
              <p:custDataLst>
                <p:tags r:id="rId19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59" name="Arc 42" hidden="1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</p:grpSp>
      <p:sp>
        <p:nvSpPr>
          <p:cNvPr id="70" name="Rectangle 1027"/>
          <p:cNvSpPr txBox="1">
            <a:spLocks noChangeArrowheads="1"/>
          </p:cNvSpPr>
          <p:nvPr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A72F84AC-84F7-445E-932F-741226E6EC22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13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4" r:id="rId7"/>
    <p:sldLayoutId id="2147483805" r:id="rId8"/>
    <p:sldLayoutId id="2147483806" r:id="rId9"/>
    <p:sldLayoutId id="2147483807" r:id="rId10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D3517D4-8AE5-454B-B6F0-98232E7DF0F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1064592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noProof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106313" y="1980016"/>
            <a:ext cx="198131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 noProof="0">
                <a:latin typeface="+mn-lt"/>
                <a:ea typeface="+mn-ea"/>
              </a:rPr>
              <a:t>Last Modified 11/7/2017 9:16 AM Arabian Standard Time</a:t>
            </a:r>
            <a:endParaRPr lang="en-US" sz="1632" baseline="0" noProof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86651" y="4197996"/>
            <a:ext cx="1620636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noProof="0">
                <a:latin typeface="+mn-lt"/>
                <a:ea typeface="+mn-ea"/>
              </a:rPr>
              <a:t>Printed 2/5/2016 5:38 AM India Standard Time</a:t>
            </a:r>
            <a:endParaRPr lang="en-US" sz="1632" baseline="0" noProof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 baseline="0" noProof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54261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297956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2" name="Rectangle 21"/>
          <p:cNvSpPr/>
          <p:nvPr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23" name="Slide Number"/>
          <p:cNvSpPr txBox="1">
            <a:spLocks/>
          </p:cNvSpPr>
          <p:nvPr/>
        </p:nvSpPr>
        <p:spPr bwMode="auto">
          <a:xfrm>
            <a:off x="11800046" y="6532392"/>
            <a:ext cx="158697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20" smtClean="0"/>
              <a:pPr lvl="0" algn="r"/>
              <a:t>‹#›</a:t>
            </a:fld>
            <a:endParaRPr lang="en-US" sz="1020"/>
          </a:p>
        </p:txBody>
      </p:sp>
      <p:grpSp>
        <p:nvGrpSpPr>
          <p:cNvPr id="24" name="Slide Elements" hidden="1"/>
          <p:cNvGrpSpPr/>
          <p:nvPr/>
        </p:nvGrpSpPr>
        <p:grpSpPr bwMode="auto">
          <a:xfrm>
            <a:off x="233259" y="6310255"/>
            <a:ext cx="9408032" cy="379128"/>
            <a:chOff x="121488" y="6349556"/>
            <a:chExt cx="8794114" cy="371581"/>
          </a:xfrm>
        </p:grpSpPr>
        <p:sp>
          <p:nvSpPr>
            <p:cNvPr id="25" name="Slide Elements"/>
            <p:cNvSpPr txBox="1">
              <a:spLocks noChangeArrowheads="1"/>
            </p:cNvSpPr>
            <p:nvPr/>
          </p:nvSpPr>
          <p:spPr bwMode="auto">
            <a:xfrm>
              <a:off x="121488" y="6349556"/>
              <a:ext cx="8794114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 baseline="0" noProof="0">
                  <a:latin typeface="+mn-lt"/>
                </a:rPr>
                <a:t>1 Footnote</a:t>
              </a:r>
            </a:p>
          </p:txBody>
        </p:sp>
        <p:sp>
          <p:nvSpPr>
            <p:cNvPr id="26" name="Slide Elements"/>
            <p:cNvSpPr>
              <a:spLocks noChangeArrowheads="1"/>
            </p:cNvSpPr>
            <p:nvPr/>
          </p:nvSpPr>
          <p:spPr bwMode="auto">
            <a:xfrm>
              <a:off x="121488" y="6564171"/>
              <a:ext cx="879411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5214" indent="-625214" defTabSz="932071">
                <a:tabLst>
                  <a:tab pos="630074" algn="l"/>
                </a:tabLst>
              </a:pPr>
              <a:r>
                <a:rPr lang="en-US" sz="1020" baseline="0" noProof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27" name="LegendBoxes" hidden="1"/>
          <p:cNvGrpSpPr>
            <a:grpSpLocks/>
          </p:cNvGrpSpPr>
          <p:nvPr/>
        </p:nvGrpSpPr>
        <p:grpSpPr bwMode="auto">
          <a:xfrm>
            <a:off x="10919880" y="296414"/>
            <a:ext cx="863916" cy="1017202"/>
            <a:chOff x="4936" y="176"/>
            <a:chExt cx="400" cy="628"/>
          </a:xfrm>
        </p:grpSpPr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2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36" name="LegendLines" hidden="1"/>
          <p:cNvGrpSpPr>
            <a:grpSpLocks/>
          </p:cNvGrpSpPr>
          <p:nvPr/>
        </p:nvGrpSpPr>
        <p:grpSpPr bwMode="auto">
          <a:xfrm>
            <a:off x="10500883" y="296414"/>
            <a:ext cx="1282915" cy="745084"/>
            <a:chOff x="4750" y="176"/>
            <a:chExt cx="594" cy="460"/>
          </a:xfrm>
        </p:grpSpPr>
        <p:sp>
          <p:nvSpPr>
            <p:cNvPr id="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</p:grpSp>
      <p:grpSp>
        <p:nvGrpSpPr>
          <p:cNvPr id="43" name="McKSticker" hidden="1"/>
          <p:cNvGrpSpPr/>
          <p:nvPr/>
        </p:nvGrpSpPr>
        <p:grpSpPr bwMode="auto">
          <a:xfrm>
            <a:off x="10474959" y="296413"/>
            <a:ext cx="1483784" cy="216679"/>
            <a:chOff x="7650155" y="285750"/>
            <a:chExt cx="1090620" cy="212366"/>
          </a:xfrm>
        </p:grpSpPr>
        <p:sp>
          <p:nvSpPr>
            <p:cNvPr id="44" name="StickerRectangle"/>
            <p:cNvSpPr>
              <a:spLocks noChangeArrowheads="1"/>
            </p:cNvSpPr>
            <p:nvPr/>
          </p:nvSpPr>
          <p:spPr bwMode="auto">
            <a:xfrm>
              <a:off x="7941310" y="285750"/>
              <a:ext cx="799465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>
                  <a:solidFill>
                    <a:srgbClr val="808080"/>
                  </a:solidFill>
                  <a:latin typeface="+mn-lt"/>
                  <a:ea typeface="Verdana" pitchFamily="34" charset="0"/>
                  <a:cs typeface="Verdana" pitchFamily="34" charset="0"/>
                </a:rPr>
                <a:t>PRELIMINARY</a:t>
              </a:r>
            </a:p>
          </p:txBody>
        </p:sp>
        <p:cxnSp>
          <p:nvCxnSpPr>
            <p:cNvPr id="45" name="AutoShape 31"/>
            <p:cNvCxnSpPr>
              <a:cxnSpLocks noChangeShapeType="1"/>
              <a:stCxn id="44" idx="2"/>
              <a:endCxn id="44" idx="4"/>
            </p:cNvCxnSpPr>
            <p:nvPr/>
          </p:nvCxnSpPr>
          <p:spPr bwMode="auto">
            <a:xfrm>
              <a:off x="765015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AutoShape 32"/>
            <p:cNvCxnSpPr>
              <a:cxnSpLocks noChangeShapeType="1"/>
              <a:stCxn id="44" idx="4"/>
              <a:endCxn id="44" idx="6"/>
            </p:cNvCxnSpPr>
            <p:nvPr/>
          </p:nvCxnSpPr>
          <p:spPr bwMode="auto">
            <a:xfrm>
              <a:off x="7650155" y="498116"/>
              <a:ext cx="109062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7" name="LegendMoons" hidden="1"/>
          <p:cNvGrpSpPr/>
          <p:nvPr/>
        </p:nvGrpSpPr>
        <p:grpSpPr bwMode="auto">
          <a:xfrm>
            <a:off x="10828951" y="296414"/>
            <a:ext cx="955651" cy="1333054"/>
            <a:chOff x="7875175" y="286625"/>
            <a:chExt cx="702428" cy="1306516"/>
          </a:xfrm>
        </p:grpSpPr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6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7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62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3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57" name="MoonLegend1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59" name="Arc 42" hidden="1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</p:grpSp>
      <p:sp>
        <p:nvSpPr>
          <p:cNvPr id="70" name="Rectangle 1027"/>
          <p:cNvSpPr txBox="1">
            <a:spLocks noChangeArrowheads="1"/>
          </p:cNvSpPr>
          <p:nvPr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A72F84AC-84F7-445E-932F-741226E6EC22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542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12/08/2020 04:05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 dirty="0">
                <a:solidFill>
                  <a:srgbClr val="808080"/>
                </a:solidFill>
                <a:latin typeface="+mn-lt"/>
                <a:ea typeface="+mn-ea"/>
              </a:rPr>
              <a:t>Printed 25/07/2020 16:01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 dirty="0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 dirty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  <a:endParaRPr lang="x-none" sz="816" baseline="0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6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1281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42" imgW="360" imgH="360" progId="TCLayout.ActiveDocument.1">
                  <p:embed/>
                </p:oleObj>
              </mc:Choice>
              <mc:Fallback>
                <p:oleObj name="think-cell Slide" r:id="rId42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D3517D4-8AE5-454B-B6F0-98232E7DF0F9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1064592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noProof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106313" y="1980016"/>
            <a:ext cx="198131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 noProof="0">
                <a:latin typeface="+mn-lt"/>
                <a:ea typeface="+mn-ea"/>
              </a:rPr>
              <a:t>Last Modified 11/7/2017 9:16 AM Arabian Standard Time</a:t>
            </a:r>
            <a:endParaRPr lang="en-US" sz="1632" baseline="0" noProof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86651" y="4197996"/>
            <a:ext cx="1620636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noProof="0">
                <a:latin typeface="+mn-lt"/>
                <a:ea typeface="+mn-ea"/>
              </a:rPr>
              <a:t>Printed 2/5/2016 5:38 AM India Standard Time</a:t>
            </a:r>
            <a:endParaRPr lang="en-US" sz="1632" baseline="0" noProof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 baseline="0" noProof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54261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297956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2" name="Rectangle 21"/>
          <p:cNvSpPr/>
          <p:nvPr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23" name="Slide Number"/>
          <p:cNvSpPr txBox="1">
            <a:spLocks/>
          </p:cNvSpPr>
          <p:nvPr/>
        </p:nvSpPr>
        <p:spPr bwMode="auto">
          <a:xfrm>
            <a:off x="11800046" y="6532392"/>
            <a:ext cx="158697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20" smtClean="0"/>
              <a:pPr lvl="0" algn="r"/>
              <a:t>‹#›</a:t>
            </a:fld>
            <a:endParaRPr lang="en-US" sz="1020"/>
          </a:p>
        </p:txBody>
      </p:sp>
      <p:grpSp>
        <p:nvGrpSpPr>
          <p:cNvPr id="24" name="Slide Elements" hidden="1"/>
          <p:cNvGrpSpPr/>
          <p:nvPr/>
        </p:nvGrpSpPr>
        <p:grpSpPr bwMode="auto">
          <a:xfrm>
            <a:off x="233259" y="6310255"/>
            <a:ext cx="9408032" cy="379128"/>
            <a:chOff x="121488" y="6349556"/>
            <a:chExt cx="8794114" cy="371581"/>
          </a:xfrm>
        </p:grpSpPr>
        <p:sp>
          <p:nvSpPr>
            <p:cNvPr id="25" name="Slide Elements"/>
            <p:cNvSpPr txBox="1">
              <a:spLocks noChangeArrowheads="1"/>
            </p:cNvSpPr>
            <p:nvPr/>
          </p:nvSpPr>
          <p:spPr bwMode="auto">
            <a:xfrm>
              <a:off x="121488" y="6349556"/>
              <a:ext cx="8794114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 baseline="0" noProof="0">
                  <a:latin typeface="+mn-lt"/>
                </a:rPr>
                <a:t>1 Footnote</a:t>
              </a:r>
            </a:p>
          </p:txBody>
        </p:sp>
        <p:sp>
          <p:nvSpPr>
            <p:cNvPr id="26" name="Slide Elements"/>
            <p:cNvSpPr>
              <a:spLocks noChangeArrowheads="1"/>
            </p:cNvSpPr>
            <p:nvPr/>
          </p:nvSpPr>
          <p:spPr bwMode="auto">
            <a:xfrm>
              <a:off x="121488" y="6564171"/>
              <a:ext cx="879411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5214" indent="-625214" defTabSz="932071">
                <a:tabLst>
                  <a:tab pos="630074" algn="l"/>
                </a:tabLst>
              </a:pPr>
              <a:r>
                <a:rPr lang="en-US" sz="1020" baseline="0" noProof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27" name="LegendBoxes" hidden="1"/>
          <p:cNvGrpSpPr>
            <a:grpSpLocks/>
          </p:cNvGrpSpPr>
          <p:nvPr/>
        </p:nvGrpSpPr>
        <p:grpSpPr bwMode="auto">
          <a:xfrm>
            <a:off x="10919880" y="296414"/>
            <a:ext cx="863916" cy="1017202"/>
            <a:chOff x="4936" y="176"/>
            <a:chExt cx="400" cy="628"/>
          </a:xfrm>
        </p:grpSpPr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2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36" name="LegendLines" hidden="1"/>
          <p:cNvGrpSpPr>
            <a:grpSpLocks/>
          </p:cNvGrpSpPr>
          <p:nvPr/>
        </p:nvGrpSpPr>
        <p:grpSpPr bwMode="auto">
          <a:xfrm>
            <a:off x="10500883" y="296414"/>
            <a:ext cx="1282915" cy="745084"/>
            <a:chOff x="4750" y="176"/>
            <a:chExt cx="594" cy="460"/>
          </a:xfrm>
        </p:grpSpPr>
        <p:sp>
          <p:nvSpPr>
            <p:cNvPr id="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</p:grpSp>
      <p:grpSp>
        <p:nvGrpSpPr>
          <p:cNvPr id="43" name="McKSticker" hidden="1"/>
          <p:cNvGrpSpPr/>
          <p:nvPr/>
        </p:nvGrpSpPr>
        <p:grpSpPr bwMode="auto">
          <a:xfrm>
            <a:off x="10474959" y="296413"/>
            <a:ext cx="1483784" cy="216679"/>
            <a:chOff x="7650155" y="285750"/>
            <a:chExt cx="1090620" cy="212366"/>
          </a:xfrm>
        </p:grpSpPr>
        <p:sp>
          <p:nvSpPr>
            <p:cNvPr id="44" name="StickerRectangle"/>
            <p:cNvSpPr>
              <a:spLocks noChangeArrowheads="1"/>
            </p:cNvSpPr>
            <p:nvPr/>
          </p:nvSpPr>
          <p:spPr bwMode="auto">
            <a:xfrm>
              <a:off x="7941310" y="285750"/>
              <a:ext cx="799465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>
                  <a:solidFill>
                    <a:srgbClr val="808080"/>
                  </a:solidFill>
                  <a:latin typeface="+mn-lt"/>
                  <a:ea typeface="Verdana" pitchFamily="34" charset="0"/>
                  <a:cs typeface="Verdana" pitchFamily="34" charset="0"/>
                </a:rPr>
                <a:t>PRELIMINARY</a:t>
              </a:r>
            </a:p>
          </p:txBody>
        </p:sp>
        <p:cxnSp>
          <p:nvCxnSpPr>
            <p:cNvPr id="45" name="AutoShape 31"/>
            <p:cNvCxnSpPr>
              <a:cxnSpLocks noChangeShapeType="1"/>
              <a:stCxn id="44" idx="2"/>
              <a:endCxn id="44" idx="4"/>
            </p:cNvCxnSpPr>
            <p:nvPr/>
          </p:nvCxnSpPr>
          <p:spPr bwMode="auto">
            <a:xfrm>
              <a:off x="765015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AutoShape 32"/>
            <p:cNvCxnSpPr>
              <a:cxnSpLocks noChangeShapeType="1"/>
              <a:stCxn id="44" idx="4"/>
              <a:endCxn id="44" idx="6"/>
            </p:cNvCxnSpPr>
            <p:nvPr/>
          </p:nvCxnSpPr>
          <p:spPr bwMode="auto">
            <a:xfrm>
              <a:off x="7650155" y="498116"/>
              <a:ext cx="109062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7" name="LegendMoons" hidden="1"/>
          <p:cNvGrpSpPr/>
          <p:nvPr/>
        </p:nvGrpSpPr>
        <p:grpSpPr bwMode="auto">
          <a:xfrm>
            <a:off x="10828951" y="296414"/>
            <a:ext cx="955651" cy="1333054"/>
            <a:chOff x="7875175" y="286625"/>
            <a:chExt cx="702428" cy="1306516"/>
          </a:xfrm>
        </p:grpSpPr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6" name="Oval 4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7" name="Arc 42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62" name="Oval 50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3" name="Oval 5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57" name="MoonLegend1"/>
            <p:cNvGrpSpPr>
              <a:grpSpLocks noChangeAspect="1"/>
            </p:cNvGrpSpPr>
            <p:nvPr userDrawn="1">
              <p:custDataLst>
                <p:tags r:id="rId31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59" name="Arc 42" hidden="1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</p:grpSp>
      <p:sp>
        <p:nvSpPr>
          <p:cNvPr id="70" name="Rectangle 1027"/>
          <p:cNvSpPr txBox="1">
            <a:spLocks noChangeArrowheads="1"/>
          </p:cNvSpPr>
          <p:nvPr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A72F84AC-84F7-445E-932F-741226E6EC22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371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  <p:sldLayoutId id="2147483835" r:id="rId15"/>
    <p:sldLayoutId id="2147483836" r:id="rId16"/>
    <p:sldLayoutId id="2147483837" r:id="rId17"/>
    <p:sldLayoutId id="2147483838" r:id="rId18"/>
    <p:sldLayoutId id="2147483839" r:id="rId19"/>
    <p:sldLayoutId id="2147483840" r:id="rId20"/>
    <p:sldLayoutId id="2147483841" r:id="rId21"/>
    <p:sldLayoutId id="2147483842" r:id="rId2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D3517D4-8AE5-454B-B6F0-98232E7DF0F9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1064592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noProof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106313" y="1980016"/>
            <a:ext cx="198131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 noProof="0">
                <a:latin typeface="+mn-lt"/>
                <a:ea typeface="+mn-ea"/>
              </a:rPr>
              <a:t>Last Modified 11/7/2017 9:16 AM Arabian Standard Time</a:t>
            </a:r>
            <a:endParaRPr lang="en-US" sz="1632" baseline="0" noProof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86651" y="4197996"/>
            <a:ext cx="1620636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noProof="0">
                <a:latin typeface="+mn-lt"/>
                <a:ea typeface="+mn-ea"/>
              </a:rPr>
              <a:t>Printed 2/5/2016 5:38 AM India Standard Time</a:t>
            </a:r>
            <a:endParaRPr lang="en-US" sz="1632" baseline="0" noProof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 baseline="0" noProof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54261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297956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2" name="Rectangle 21"/>
          <p:cNvSpPr/>
          <p:nvPr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23" name="Slide Number"/>
          <p:cNvSpPr txBox="1">
            <a:spLocks/>
          </p:cNvSpPr>
          <p:nvPr/>
        </p:nvSpPr>
        <p:spPr bwMode="auto">
          <a:xfrm>
            <a:off x="11800046" y="6532392"/>
            <a:ext cx="158697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20" smtClean="0"/>
              <a:pPr lvl="0" algn="r"/>
              <a:t>‹#›</a:t>
            </a:fld>
            <a:endParaRPr lang="en-US" sz="1020"/>
          </a:p>
        </p:txBody>
      </p:sp>
      <p:grpSp>
        <p:nvGrpSpPr>
          <p:cNvPr id="24" name="Slide Elements" hidden="1"/>
          <p:cNvGrpSpPr/>
          <p:nvPr/>
        </p:nvGrpSpPr>
        <p:grpSpPr bwMode="auto">
          <a:xfrm>
            <a:off x="233259" y="6310255"/>
            <a:ext cx="9408032" cy="379128"/>
            <a:chOff x="121488" y="6349556"/>
            <a:chExt cx="8794114" cy="371581"/>
          </a:xfrm>
        </p:grpSpPr>
        <p:sp>
          <p:nvSpPr>
            <p:cNvPr id="25" name="Slide Elements"/>
            <p:cNvSpPr txBox="1">
              <a:spLocks noChangeArrowheads="1"/>
            </p:cNvSpPr>
            <p:nvPr/>
          </p:nvSpPr>
          <p:spPr bwMode="auto">
            <a:xfrm>
              <a:off x="121488" y="6349556"/>
              <a:ext cx="8794114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 baseline="0" noProof="0">
                  <a:latin typeface="+mn-lt"/>
                </a:rPr>
                <a:t>1 Footnote</a:t>
              </a:r>
            </a:p>
          </p:txBody>
        </p:sp>
        <p:sp>
          <p:nvSpPr>
            <p:cNvPr id="26" name="Slide Elements"/>
            <p:cNvSpPr>
              <a:spLocks noChangeArrowheads="1"/>
            </p:cNvSpPr>
            <p:nvPr/>
          </p:nvSpPr>
          <p:spPr bwMode="auto">
            <a:xfrm>
              <a:off x="121488" y="6564171"/>
              <a:ext cx="879411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5214" indent="-625214" defTabSz="932071">
                <a:tabLst>
                  <a:tab pos="630074" algn="l"/>
                </a:tabLst>
              </a:pPr>
              <a:r>
                <a:rPr lang="en-US" sz="1020" baseline="0" noProof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27" name="LegendBoxes" hidden="1"/>
          <p:cNvGrpSpPr>
            <a:grpSpLocks/>
          </p:cNvGrpSpPr>
          <p:nvPr/>
        </p:nvGrpSpPr>
        <p:grpSpPr bwMode="auto">
          <a:xfrm>
            <a:off x="10919880" y="296414"/>
            <a:ext cx="863916" cy="1017202"/>
            <a:chOff x="4936" y="176"/>
            <a:chExt cx="400" cy="628"/>
          </a:xfrm>
        </p:grpSpPr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2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36" name="LegendLines" hidden="1"/>
          <p:cNvGrpSpPr>
            <a:grpSpLocks/>
          </p:cNvGrpSpPr>
          <p:nvPr/>
        </p:nvGrpSpPr>
        <p:grpSpPr bwMode="auto">
          <a:xfrm>
            <a:off x="10500883" y="296414"/>
            <a:ext cx="1282915" cy="745084"/>
            <a:chOff x="4750" y="176"/>
            <a:chExt cx="594" cy="460"/>
          </a:xfrm>
        </p:grpSpPr>
        <p:sp>
          <p:nvSpPr>
            <p:cNvPr id="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</p:grpSp>
      <p:grpSp>
        <p:nvGrpSpPr>
          <p:cNvPr id="43" name="McKSticker" hidden="1"/>
          <p:cNvGrpSpPr/>
          <p:nvPr/>
        </p:nvGrpSpPr>
        <p:grpSpPr bwMode="auto">
          <a:xfrm>
            <a:off x="10474959" y="296413"/>
            <a:ext cx="1483784" cy="216679"/>
            <a:chOff x="7650155" y="285750"/>
            <a:chExt cx="1090620" cy="212366"/>
          </a:xfrm>
        </p:grpSpPr>
        <p:sp>
          <p:nvSpPr>
            <p:cNvPr id="44" name="StickerRectangle"/>
            <p:cNvSpPr>
              <a:spLocks noChangeArrowheads="1"/>
            </p:cNvSpPr>
            <p:nvPr/>
          </p:nvSpPr>
          <p:spPr bwMode="auto">
            <a:xfrm>
              <a:off x="7941310" y="285750"/>
              <a:ext cx="799465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>
                  <a:solidFill>
                    <a:srgbClr val="808080"/>
                  </a:solidFill>
                  <a:latin typeface="+mn-lt"/>
                  <a:ea typeface="Verdana" pitchFamily="34" charset="0"/>
                  <a:cs typeface="Verdana" pitchFamily="34" charset="0"/>
                </a:rPr>
                <a:t>PRELIMINARY</a:t>
              </a:r>
            </a:p>
          </p:txBody>
        </p:sp>
        <p:cxnSp>
          <p:nvCxnSpPr>
            <p:cNvPr id="45" name="AutoShape 31"/>
            <p:cNvCxnSpPr>
              <a:cxnSpLocks noChangeShapeType="1"/>
              <a:stCxn id="44" idx="2"/>
              <a:endCxn id="44" idx="4"/>
            </p:cNvCxnSpPr>
            <p:nvPr/>
          </p:nvCxnSpPr>
          <p:spPr bwMode="auto">
            <a:xfrm>
              <a:off x="765015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AutoShape 32"/>
            <p:cNvCxnSpPr>
              <a:cxnSpLocks noChangeShapeType="1"/>
              <a:stCxn id="44" idx="4"/>
              <a:endCxn id="44" idx="6"/>
            </p:cNvCxnSpPr>
            <p:nvPr/>
          </p:nvCxnSpPr>
          <p:spPr bwMode="auto">
            <a:xfrm>
              <a:off x="7650155" y="498116"/>
              <a:ext cx="109062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7" name="LegendMoons" hidden="1"/>
          <p:cNvGrpSpPr/>
          <p:nvPr/>
        </p:nvGrpSpPr>
        <p:grpSpPr bwMode="auto">
          <a:xfrm>
            <a:off x="10828951" y="296414"/>
            <a:ext cx="955651" cy="1333054"/>
            <a:chOff x="7875175" y="286625"/>
            <a:chExt cx="702428" cy="1306516"/>
          </a:xfrm>
        </p:grpSpPr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6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7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62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3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57" name="MoonLegend1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59" name="Arc 42" hidden="1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</p:grpSp>
      <p:sp>
        <p:nvSpPr>
          <p:cNvPr id="70" name="Rectangle 1027"/>
          <p:cNvSpPr txBox="1">
            <a:spLocks noChangeArrowheads="1"/>
          </p:cNvSpPr>
          <p:nvPr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A72F84AC-84F7-445E-932F-741226E6EC22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78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D3517D4-8AE5-454B-B6F0-98232E7DF0F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1064592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noProof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106313" y="1980016"/>
            <a:ext cx="198131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 noProof="0">
                <a:latin typeface="+mn-lt"/>
                <a:ea typeface="+mn-ea"/>
              </a:rPr>
              <a:t>Last Modified 11/7/2017 9:16 AM Arabian Standard Time</a:t>
            </a:r>
            <a:endParaRPr lang="en-US" sz="1632" baseline="0" noProof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86651" y="4197996"/>
            <a:ext cx="1620636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noProof="0">
                <a:latin typeface="+mn-lt"/>
                <a:ea typeface="+mn-ea"/>
              </a:rPr>
              <a:t>Printed 2/5/2016 5:38 AM India Standard Time</a:t>
            </a:r>
            <a:endParaRPr lang="en-US" sz="1632" baseline="0" noProof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 baseline="0" noProof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54261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297956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2" name="Rectangle 21"/>
          <p:cNvSpPr/>
          <p:nvPr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23" name="Slide Number"/>
          <p:cNvSpPr txBox="1">
            <a:spLocks/>
          </p:cNvSpPr>
          <p:nvPr/>
        </p:nvSpPr>
        <p:spPr bwMode="auto">
          <a:xfrm>
            <a:off x="11800046" y="6532392"/>
            <a:ext cx="158697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20" smtClean="0"/>
              <a:pPr lvl="0" algn="r"/>
              <a:t>‹#›</a:t>
            </a:fld>
            <a:endParaRPr lang="en-US" sz="1020"/>
          </a:p>
        </p:txBody>
      </p:sp>
      <p:grpSp>
        <p:nvGrpSpPr>
          <p:cNvPr id="24" name="Slide Elements" hidden="1"/>
          <p:cNvGrpSpPr/>
          <p:nvPr/>
        </p:nvGrpSpPr>
        <p:grpSpPr bwMode="auto">
          <a:xfrm>
            <a:off x="233259" y="6310255"/>
            <a:ext cx="9408032" cy="379128"/>
            <a:chOff x="121488" y="6349556"/>
            <a:chExt cx="8794114" cy="371581"/>
          </a:xfrm>
        </p:grpSpPr>
        <p:sp>
          <p:nvSpPr>
            <p:cNvPr id="25" name="Slide Elements"/>
            <p:cNvSpPr txBox="1">
              <a:spLocks noChangeArrowheads="1"/>
            </p:cNvSpPr>
            <p:nvPr/>
          </p:nvSpPr>
          <p:spPr bwMode="auto">
            <a:xfrm>
              <a:off x="121488" y="6349556"/>
              <a:ext cx="8794114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 baseline="0" noProof="0">
                  <a:latin typeface="+mn-lt"/>
                </a:rPr>
                <a:t>1 Footnote</a:t>
              </a:r>
            </a:p>
          </p:txBody>
        </p:sp>
        <p:sp>
          <p:nvSpPr>
            <p:cNvPr id="26" name="Slide Elements"/>
            <p:cNvSpPr>
              <a:spLocks noChangeArrowheads="1"/>
            </p:cNvSpPr>
            <p:nvPr/>
          </p:nvSpPr>
          <p:spPr bwMode="auto">
            <a:xfrm>
              <a:off x="121488" y="6564171"/>
              <a:ext cx="879411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5214" indent="-625214" defTabSz="932071">
                <a:tabLst>
                  <a:tab pos="630074" algn="l"/>
                </a:tabLst>
              </a:pPr>
              <a:r>
                <a:rPr lang="en-US" sz="1020" baseline="0" noProof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27" name="LegendBoxes" hidden="1"/>
          <p:cNvGrpSpPr>
            <a:grpSpLocks/>
          </p:cNvGrpSpPr>
          <p:nvPr/>
        </p:nvGrpSpPr>
        <p:grpSpPr bwMode="auto">
          <a:xfrm>
            <a:off x="10919880" y="296414"/>
            <a:ext cx="863916" cy="1017202"/>
            <a:chOff x="4936" y="176"/>
            <a:chExt cx="400" cy="628"/>
          </a:xfrm>
        </p:grpSpPr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2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36" name="LegendLines" hidden="1"/>
          <p:cNvGrpSpPr>
            <a:grpSpLocks/>
          </p:cNvGrpSpPr>
          <p:nvPr/>
        </p:nvGrpSpPr>
        <p:grpSpPr bwMode="auto">
          <a:xfrm>
            <a:off x="10500883" y="296414"/>
            <a:ext cx="1282915" cy="745084"/>
            <a:chOff x="4750" y="176"/>
            <a:chExt cx="594" cy="460"/>
          </a:xfrm>
        </p:grpSpPr>
        <p:sp>
          <p:nvSpPr>
            <p:cNvPr id="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</p:grpSp>
      <p:grpSp>
        <p:nvGrpSpPr>
          <p:cNvPr id="43" name="McKSticker" hidden="1"/>
          <p:cNvGrpSpPr/>
          <p:nvPr/>
        </p:nvGrpSpPr>
        <p:grpSpPr bwMode="auto">
          <a:xfrm>
            <a:off x="10474959" y="296413"/>
            <a:ext cx="1483784" cy="216679"/>
            <a:chOff x="7650155" y="285750"/>
            <a:chExt cx="1090620" cy="212366"/>
          </a:xfrm>
        </p:grpSpPr>
        <p:sp>
          <p:nvSpPr>
            <p:cNvPr id="44" name="StickerRectangle"/>
            <p:cNvSpPr>
              <a:spLocks noChangeArrowheads="1"/>
            </p:cNvSpPr>
            <p:nvPr/>
          </p:nvSpPr>
          <p:spPr bwMode="auto">
            <a:xfrm>
              <a:off x="7941310" y="285750"/>
              <a:ext cx="799465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>
                  <a:solidFill>
                    <a:srgbClr val="808080"/>
                  </a:solidFill>
                  <a:latin typeface="+mn-lt"/>
                  <a:ea typeface="Verdana" pitchFamily="34" charset="0"/>
                  <a:cs typeface="Verdana" pitchFamily="34" charset="0"/>
                </a:rPr>
                <a:t>PRELIMINARY</a:t>
              </a:r>
            </a:p>
          </p:txBody>
        </p:sp>
        <p:cxnSp>
          <p:nvCxnSpPr>
            <p:cNvPr id="45" name="AutoShape 31"/>
            <p:cNvCxnSpPr>
              <a:cxnSpLocks noChangeShapeType="1"/>
              <a:stCxn id="44" idx="2"/>
              <a:endCxn id="44" idx="4"/>
            </p:cNvCxnSpPr>
            <p:nvPr/>
          </p:nvCxnSpPr>
          <p:spPr bwMode="auto">
            <a:xfrm>
              <a:off x="765015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AutoShape 32"/>
            <p:cNvCxnSpPr>
              <a:cxnSpLocks noChangeShapeType="1"/>
              <a:stCxn id="44" idx="4"/>
              <a:endCxn id="44" idx="6"/>
            </p:cNvCxnSpPr>
            <p:nvPr/>
          </p:nvCxnSpPr>
          <p:spPr bwMode="auto">
            <a:xfrm>
              <a:off x="7650155" y="498116"/>
              <a:ext cx="109062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7" name="LegendMoons" hidden="1"/>
          <p:cNvGrpSpPr/>
          <p:nvPr/>
        </p:nvGrpSpPr>
        <p:grpSpPr bwMode="auto">
          <a:xfrm>
            <a:off x="10828951" y="296414"/>
            <a:ext cx="955651" cy="1333054"/>
            <a:chOff x="7875175" y="286625"/>
            <a:chExt cx="702428" cy="1306516"/>
          </a:xfrm>
        </p:grpSpPr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6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57" name="MoonLegend1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59" name="Arc 42" hidden="1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</p:grpSp>
      <p:sp>
        <p:nvSpPr>
          <p:cNvPr id="70" name="Rectangle 1027"/>
          <p:cNvSpPr txBox="1">
            <a:spLocks noChangeArrowheads="1"/>
          </p:cNvSpPr>
          <p:nvPr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686830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FB31470-0412-423B-B5A9-EFA0AEBA93AC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939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1064593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3"/>
            <a:endParaRPr lang="en-US" sz="816" baseline="0" noProof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086192" y="1979060"/>
            <a:ext cx="2021556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 noProof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Last Modified 11/7/2017 9:16 AM Arabian Standard Time</a:t>
            </a:r>
            <a:endParaRPr lang="en-US" sz="1632" baseline="0" noProof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70193" y="4197040"/>
            <a:ext cx="1653554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noProof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inted 2/5/2016 5:38 AM India Standard Time</a:t>
            </a:r>
            <a:endParaRPr lang="en-US" sz="1632" baseline="0" noProof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59" y="234863"/>
            <a:ext cx="117254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60" y="27536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 baseline="0" noProof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542618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8" y="1297957"/>
            <a:ext cx="5801189" cy="596067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noProof="0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en-US" sz="1837" baseline="0" noProof="0">
                  <a:solidFill>
                    <a:srgbClr val="80808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</a:p>
          </p:txBody>
        </p:sp>
      </p:grpSp>
      <p:grpSp>
        <p:nvGrpSpPr>
          <p:cNvPr id="24" name="Slide Elements" hidden="1"/>
          <p:cNvGrpSpPr/>
          <p:nvPr/>
        </p:nvGrpSpPr>
        <p:grpSpPr bwMode="auto">
          <a:xfrm>
            <a:off x="233260" y="6310251"/>
            <a:ext cx="9408032" cy="379127"/>
            <a:chOff x="121488" y="6349556"/>
            <a:chExt cx="8794114" cy="371581"/>
          </a:xfrm>
        </p:grpSpPr>
        <p:sp>
          <p:nvSpPr>
            <p:cNvPr id="25" name="Slide Elements"/>
            <p:cNvSpPr txBox="1">
              <a:spLocks noChangeArrowheads="1"/>
            </p:cNvSpPr>
            <p:nvPr/>
          </p:nvSpPr>
          <p:spPr bwMode="auto">
            <a:xfrm>
              <a:off x="121488" y="6349556"/>
              <a:ext cx="8794114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 baseline="0" noProof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</a:p>
          </p:txBody>
        </p:sp>
        <p:sp>
          <p:nvSpPr>
            <p:cNvPr id="26" name="Slide Elements"/>
            <p:cNvSpPr>
              <a:spLocks noChangeArrowheads="1"/>
            </p:cNvSpPr>
            <p:nvPr/>
          </p:nvSpPr>
          <p:spPr bwMode="auto">
            <a:xfrm>
              <a:off x="121488" y="6564171"/>
              <a:ext cx="879411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5211" indent="-625211" defTabSz="932068">
                <a:tabLst>
                  <a:tab pos="630072" algn="l"/>
                </a:tabLst>
              </a:pPr>
              <a:r>
                <a:rPr lang="en-US" sz="1020" baseline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27" name="LegendBoxes" hidden="1"/>
          <p:cNvGrpSpPr>
            <a:grpSpLocks/>
          </p:cNvGrpSpPr>
          <p:nvPr/>
        </p:nvGrpSpPr>
        <p:grpSpPr bwMode="auto">
          <a:xfrm>
            <a:off x="10919883" y="296414"/>
            <a:ext cx="874715" cy="1022062"/>
            <a:chOff x="4936" y="176"/>
            <a:chExt cx="405" cy="631"/>
          </a:xfrm>
        </p:grpSpPr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5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2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5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3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5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3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5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3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36" name="LegendLines" hidden="1"/>
          <p:cNvGrpSpPr>
            <a:grpSpLocks/>
          </p:cNvGrpSpPr>
          <p:nvPr/>
        </p:nvGrpSpPr>
        <p:grpSpPr bwMode="auto">
          <a:xfrm>
            <a:off x="10500885" y="296414"/>
            <a:ext cx="1293714" cy="749943"/>
            <a:chOff x="4750" y="176"/>
            <a:chExt cx="599" cy="463"/>
          </a:xfrm>
        </p:grpSpPr>
        <p:sp>
          <p:nvSpPr>
            <p:cNvPr id="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5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5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5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</p:grpSp>
      <p:grpSp>
        <p:nvGrpSpPr>
          <p:cNvPr id="43" name="McKSticker" hidden="1"/>
          <p:cNvGrpSpPr/>
          <p:nvPr/>
        </p:nvGrpSpPr>
        <p:grpSpPr bwMode="auto">
          <a:xfrm>
            <a:off x="10848969" y="296414"/>
            <a:ext cx="1109780" cy="220474"/>
            <a:chOff x="7925058" y="285750"/>
            <a:chExt cx="815717" cy="216086"/>
          </a:xfrm>
        </p:grpSpPr>
        <p:sp>
          <p:nvSpPr>
            <p:cNvPr id="44" name="StickerRectangle"/>
            <p:cNvSpPr>
              <a:spLocks noChangeArrowheads="1"/>
            </p:cNvSpPr>
            <p:nvPr/>
          </p:nvSpPr>
          <p:spPr bwMode="auto">
            <a:xfrm>
              <a:off x="7925058" y="285750"/>
              <a:ext cx="815717" cy="21608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3">
                <a:buClr>
                  <a:schemeClr val="tx2"/>
                </a:buClr>
              </a:pPr>
              <a:r>
                <a:rPr lang="en-US" sz="1224">
                  <a:solidFill>
                    <a:srgbClr val="808080"/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ELIMINARY</a:t>
              </a:r>
            </a:p>
          </p:txBody>
        </p:sp>
        <p:cxnSp>
          <p:nvCxnSpPr>
            <p:cNvPr id="45" name="AutoShape 31"/>
            <p:cNvCxnSpPr>
              <a:cxnSpLocks noChangeShapeType="1"/>
              <a:stCxn id="44" idx="2"/>
              <a:endCxn id="44" idx="4"/>
            </p:cNvCxnSpPr>
            <p:nvPr/>
          </p:nvCxnSpPr>
          <p:spPr bwMode="auto">
            <a:xfrm>
              <a:off x="7925058" y="285750"/>
              <a:ext cx="0" cy="21608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AutoShape 32"/>
            <p:cNvCxnSpPr>
              <a:cxnSpLocks noChangeShapeType="1"/>
              <a:stCxn id="44" idx="4"/>
              <a:endCxn id="44" idx="6"/>
            </p:cNvCxnSpPr>
            <p:nvPr/>
          </p:nvCxnSpPr>
          <p:spPr bwMode="auto">
            <a:xfrm>
              <a:off x="7925058" y="501836"/>
              <a:ext cx="81571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7" name="LegendMoons" hidden="1"/>
          <p:cNvGrpSpPr/>
          <p:nvPr/>
        </p:nvGrpSpPr>
        <p:grpSpPr bwMode="auto">
          <a:xfrm>
            <a:off x="10828954" y="296414"/>
            <a:ext cx="966208" cy="1333054"/>
            <a:chOff x="7875175" y="286625"/>
            <a:chExt cx="710187" cy="1306516"/>
          </a:xfrm>
        </p:grpSpPr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6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7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62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3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9512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89512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9512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9512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9512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57" name="MoonLegend1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59" name="Arc 42" hidden="1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pic>
        <p:nvPicPr>
          <p:cNvPr id="69" name="Picture 50" descr="http://digitaleyeuae.com/images/clients/events_photographers_dubai_4.gif"/>
          <p:cNvPicPr>
            <a:picLocks noChangeAspect="1" noChangeArrowheads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452369" y="6432527"/>
            <a:ext cx="1136012" cy="30121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Rectangle 1027"/>
          <p:cNvSpPr txBox="1">
            <a:spLocks noChangeArrowheads="1"/>
          </p:cNvSpPr>
          <p:nvPr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FIDENTIAL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64F8CF69-828D-AF4A-9841-EC1AF6452CB4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737680"/>
            <a:ext cx="12191567" cy="136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574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</p:sldLayoutIdLst>
  <p:hf hdr="0" ftr="0" dt="0"/>
  <p:txStyles>
    <p:titleStyle>
      <a:lvl1pPr algn="l" defTabSz="913523" rtl="0" eaLnBrk="1" fontAlgn="base" hangingPunct="1">
        <a:spcBef>
          <a:spcPct val="0"/>
        </a:spcBef>
        <a:spcAft>
          <a:spcPct val="0"/>
        </a:spcAft>
        <a:tabLst>
          <a:tab pos="275351" algn="l"/>
        </a:tabLst>
        <a:defRPr sz="1939" b="1" baseline="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79"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58"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37"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17"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7607" indent="-195986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66479" indent="-267254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26833" indent="-158732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65026" indent="-132818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65026" indent="-132818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6" indent="-132818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6" indent="-132818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6" indent="-132818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79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58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37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17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397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76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55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34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12/08/2020 04:05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 dirty="0">
                <a:solidFill>
                  <a:srgbClr val="808080"/>
                </a:solidFill>
                <a:latin typeface="+mn-lt"/>
                <a:ea typeface="+mn-ea"/>
              </a:rPr>
              <a:t>Printed 25/07/2020 16:01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 dirty="0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 dirty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  <a:endParaRPr lang="x-none" sz="816" baseline="0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02944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02944" y="438997"/>
              <a:ext cx="73783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6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6661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12/08/2020 04:05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 dirty="0">
                <a:solidFill>
                  <a:srgbClr val="808080"/>
                </a:solidFill>
                <a:latin typeface="+mn-lt"/>
                <a:ea typeface="+mn-ea"/>
              </a:rPr>
              <a:t>Printed 25/07/2020 16:01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 dirty="0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 dirty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  <a:endParaRPr lang="x-none" sz="816" baseline="0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6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7768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4" y="3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3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FB31470-0412-423B-B5A9-EFA0AEBA93AC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3" y="4"/>
            <a:ext cx="158750" cy="1587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79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1064594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43222"/>
            <a:endParaRPr lang="en-US" sz="753" baseline="0" noProof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161433" y="1982763"/>
            <a:ext cx="1871083" cy="887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565" baseline="0" noProof="0" dirty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Last Modified 11/7/2017 9:16 AM Arabian Standard Time</a:t>
            </a:r>
            <a:endParaRPr lang="en-US" sz="1506" baseline="0" noProof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332345" y="4200743"/>
            <a:ext cx="1529251" cy="887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baseline="0" noProof="0" dirty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inted 2/5/2016 5:38 AM India Standard Time</a:t>
            </a:r>
            <a:endParaRPr lang="en-US" sz="1506" baseline="0" noProof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10" y="1990671"/>
            <a:ext cx="5853024" cy="1158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60" y="234866"/>
            <a:ext cx="11725486" cy="2754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64" y="27537"/>
            <a:ext cx="821064" cy="2071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319" baseline="0" noProof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60" y="542619"/>
            <a:ext cx="11725486" cy="236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506" baseline="0" noProof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14" y="1343311"/>
            <a:ext cx="5801189" cy="550714"/>
            <a:chOff x="915" y="690"/>
            <a:chExt cx="2686" cy="34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90"/>
              <a:ext cx="2686" cy="34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95" b="1" baseline="0" noProof="0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en-US" sz="1695" baseline="0" noProof="0">
                  <a:solidFill>
                    <a:srgbClr val="80808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</a:p>
          </p:txBody>
        </p:sp>
      </p:grpSp>
      <p:grpSp>
        <p:nvGrpSpPr>
          <p:cNvPr id="24" name="Slide Elements" hidden="1"/>
          <p:cNvGrpSpPr/>
          <p:nvPr/>
        </p:nvGrpSpPr>
        <p:grpSpPr bwMode="auto">
          <a:xfrm>
            <a:off x="233260" y="6322526"/>
            <a:ext cx="9408032" cy="366894"/>
            <a:chOff x="121488" y="6361549"/>
            <a:chExt cx="8794114" cy="359588"/>
          </a:xfrm>
        </p:grpSpPr>
        <p:sp>
          <p:nvSpPr>
            <p:cNvPr id="25" name="Slide Elements"/>
            <p:cNvSpPr txBox="1">
              <a:spLocks noChangeArrowheads="1"/>
            </p:cNvSpPr>
            <p:nvPr/>
          </p:nvSpPr>
          <p:spPr bwMode="auto">
            <a:xfrm>
              <a:off x="121488" y="6361549"/>
              <a:ext cx="8794114" cy="144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942" baseline="0" noProof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</a:p>
          </p:txBody>
        </p:sp>
        <p:sp>
          <p:nvSpPr>
            <p:cNvPr id="26" name="Slide Elements"/>
            <p:cNvSpPr>
              <a:spLocks noChangeArrowheads="1"/>
            </p:cNvSpPr>
            <p:nvPr/>
          </p:nvSpPr>
          <p:spPr bwMode="auto">
            <a:xfrm>
              <a:off x="121488" y="6576162"/>
              <a:ext cx="8794112" cy="144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77101" indent="-577101" defTabSz="860341">
                <a:tabLst>
                  <a:tab pos="581584" algn="l"/>
                </a:tabLst>
              </a:pPr>
              <a:r>
                <a:rPr lang="en-US" sz="942" baseline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27" name="LegendBoxes" hidden="1"/>
          <p:cNvGrpSpPr>
            <a:grpSpLocks/>
          </p:cNvGrpSpPr>
          <p:nvPr/>
        </p:nvGrpSpPr>
        <p:grpSpPr bwMode="auto">
          <a:xfrm>
            <a:off x="10919899" y="296416"/>
            <a:ext cx="835840" cy="1007483"/>
            <a:chOff x="4936" y="176"/>
            <a:chExt cx="387" cy="622"/>
          </a:xfrm>
        </p:grpSpPr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27" cy="1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3222">
                <a:buClr>
                  <a:schemeClr val="tx2"/>
                </a:buClr>
              </a:pPr>
              <a:r>
                <a:rPr lang="en-US" sz="1130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2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95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27" cy="1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3222">
                <a:buClr>
                  <a:schemeClr val="tx2"/>
                </a:buClr>
              </a:pPr>
              <a:r>
                <a:rPr lang="en-US" sz="1130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3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95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27" cy="1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3222">
                <a:buClr>
                  <a:schemeClr val="tx2"/>
                </a:buClr>
              </a:pPr>
              <a:r>
                <a:rPr lang="en-US" sz="1130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3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95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27" cy="1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3222">
                <a:buClr>
                  <a:schemeClr val="tx2"/>
                </a:buClr>
              </a:pPr>
              <a:r>
                <a:rPr lang="en-US" sz="1130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3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95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36" name="LegendLines" hidden="1"/>
          <p:cNvGrpSpPr>
            <a:grpSpLocks/>
          </p:cNvGrpSpPr>
          <p:nvPr/>
        </p:nvGrpSpPr>
        <p:grpSpPr bwMode="auto">
          <a:xfrm>
            <a:off x="10500903" y="296414"/>
            <a:ext cx="1254841" cy="735367"/>
            <a:chOff x="4750" y="176"/>
            <a:chExt cx="581" cy="454"/>
          </a:xfrm>
        </p:grpSpPr>
        <p:sp>
          <p:nvSpPr>
            <p:cNvPr id="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95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95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95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27" cy="1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3222">
                <a:buClr>
                  <a:schemeClr val="tx2"/>
                </a:buClr>
              </a:pPr>
              <a:r>
                <a:rPr lang="en-US" sz="1130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27" cy="1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3222">
                <a:buClr>
                  <a:schemeClr val="tx2"/>
                </a:buClr>
              </a:pPr>
              <a:r>
                <a:rPr lang="en-US" sz="1130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27" cy="1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3222">
                <a:buClr>
                  <a:schemeClr val="tx2"/>
                </a:buClr>
              </a:pPr>
              <a:r>
                <a:rPr lang="en-US" sz="1130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</p:grpSp>
      <p:grpSp>
        <p:nvGrpSpPr>
          <p:cNvPr id="43" name="McKSticker" hidden="1"/>
          <p:cNvGrpSpPr/>
          <p:nvPr/>
        </p:nvGrpSpPr>
        <p:grpSpPr bwMode="auto">
          <a:xfrm>
            <a:off x="10932757" y="296420"/>
            <a:ext cx="1025972" cy="205689"/>
            <a:chOff x="7986658" y="285750"/>
            <a:chExt cx="754117" cy="201596"/>
          </a:xfrm>
        </p:grpSpPr>
        <p:sp>
          <p:nvSpPr>
            <p:cNvPr id="44" name="StickerRectangle"/>
            <p:cNvSpPr>
              <a:spLocks noChangeArrowheads="1"/>
            </p:cNvSpPr>
            <p:nvPr/>
          </p:nvSpPr>
          <p:spPr bwMode="auto">
            <a:xfrm>
              <a:off x="7986658" y="285750"/>
              <a:ext cx="754117" cy="2015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43222">
                <a:buClr>
                  <a:schemeClr val="tx2"/>
                </a:buClr>
              </a:pPr>
              <a:r>
                <a:rPr lang="en-US" sz="1130">
                  <a:solidFill>
                    <a:srgbClr val="808080"/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ELIMINARY</a:t>
              </a:r>
            </a:p>
          </p:txBody>
        </p:sp>
        <p:cxnSp>
          <p:nvCxnSpPr>
            <p:cNvPr id="45" name="AutoShape 31"/>
            <p:cNvCxnSpPr>
              <a:cxnSpLocks noChangeShapeType="1"/>
              <a:stCxn id="44" idx="2"/>
              <a:endCxn id="44" idx="4"/>
            </p:cNvCxnSpPr>
            <p:nvPr/>
          </p:nvCxnSpPr>
          <p:spPr bwMode="auto">
            <a:xfrm>
              <a:off x="7986658" y="285750"/>
              <a:ext cx="0" cy="20159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AutoShape 32"/>
            <p:cNvCxnSpPr>
              <a:cxnSpLocks noChangeShapeType="1"/>
              <a:stCxn id="44" idx="4"/>
              <a:endCxn id="44" idx="6"/>
            </p:cNvCxnSpPr>
            <p:nvPr/>
          </p:nvCxnSpPr>
          <p:spPr bwMode="auto">
            <a:xfrm>
              <a:off x="7986658" y="487346"/>
              <a:ext cx="75411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7" name="LegendMoons" hidden="1"/>
          <p:cNvGrpSpPr/>
          <p:nvPr/>
        </p:nvGrpSpPr>
        <p:grpSpPr bwMode="auto">
          <a:xfrm>
            <a:off x="10828923" y="296415"/>
            <a:ext cx="926954" cy="1333054"/>
            <a:chOff x="7875175" y="286625"/>
            <a:chExt cx="681335" cy="1306516"/>
          </a:xfrm>
        </p:grpSpPr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6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95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7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95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95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95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62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95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3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95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195850" y="299324"/>
              <a:ext cx="360660" cy="1738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3222">
                <a:buClr>
                  <a:schemeClr val="tx2"/>
                </a:buClr>
              </a:pPr>
              <a:r>
                <a:rPr lang="en-US" sz="1130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60660" cy="1738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3222">
                <a:buClr>
                  <a:schemeClr val="tx2"/>
                </a:buClr>
              </a:pPr>
              <a:r>
                <a:rPr lang="en-US" sz="1130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60660" cy="1738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3222">
                <a:buClr>
                  <a:schemeClr val="tx2"/>
                </a:buClr>
              </a:pPr>
              <a:r>
                <a:rPr lang="en-US" sz="1130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60660" cy="1738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3222">
                <a:buClr>
                  <a:schemeClr val="tx2"/>
                </a:buClr>
              </a:pPr>
              <a:r>
                <a:rPr lang="en-US" sz="1130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60660" cy="1738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3222">
                <a:buClr>
                  <a:schemeClr val="tx2"/>
                </a:buClr>
              </a:pPr>
              <a:r>
                <a:rPr lang="en-US" sz="1130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95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95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57" name="MoonLegend1"/>
            <p:cNvGrpSpPr>
              <a:grpSpLocks noChangeAspect="1"/>
            </p:cNvGrpSpPr>
            <p:nvPr userDrawn="1">
              <p:custDataLst>
                <p:tags r:id="rId17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95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59" name="Arc 42" hidden="1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95"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00910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</p:sldLayoutIdLst>
  <p:hf hdr="0" ftr="0" dt="0"/>
  <p:txStyles>
    <p:titleStyle>
      <a:lvl1pPr algn="l" defTabSz="843222" rtl="0" eaLnBrk="1" fontAlgn="base" hangingPunct="1">
        <a:spcBef>
          <a:spcPct val="0"/>
        </a:spcBef>
        <a:spcAft>
          <a:spcPct val="0"/>
        </a:spcAft>
        <a:tabLst>
          <a:tab pos="254162" algn="l"/>
        </a:tabLst>
        <a:defRPr sz="1790" b="1" baseline="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43222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2pPr>
      <a:lvl3pPr algn="l" defTabSz="843222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3pPr>
      <a:lvl4pPr algn="l" defTabSz="843222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4pPr>
      <a:lvl5pPr algn="l" defTabSz="843222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5pPr>
      <a:lvl6pPr marL="430580" algn="l" defTabSz="843222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6pPr>
      <a:lvl7pPr marL="861164" algn="l" defTabSz="843222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7pPr>
      <a:lvl8pPr marL="1291745" algn="l" defTabSz="843222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8pPr>
      <a:lvl9pPr marL="1722328" algn="l" defTabSz="843222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4322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06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82400" indent="-180905" algn="l" defTabSz="8432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6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30580" indent="-246687" algn="l" defTabSz="8432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6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578595" indent="-146516" algn="l" defTabSz="8432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6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06153" indent="-122596" algn="l" defTabSz="8432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06153" indent="-122596" algn="l" defTabSz="8432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 baseline="0">
          <a:solidFill>
            <a:schemeClr val="tx1"/>
          </a:solidFill>
          <a:latin typeface="+mn-lt"/>
        </a:defRPr>
      </a:lvl6pPr>
      <a:lvl7pPr marL="706153" indent="-122596" algn="l" defTabSz="8432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 baseline="0">
          <a:solidFill>
            <a:schemeClr val="tx1"/>
          </a:solidFill>
          <a:latin typeface="+mn-lt"/>
        </a:defRPr>
      </a:lvl7pPr>
      <a:lvl8pPr marL="706153" indent="-122596" algn="l" defTabSz="8432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 baseline="0">
          <a:solidFill>
            <a:schemeClr val="tx1"/>
          </a:solidFill>
          <a:latin typeface="+mn-lt"/>
        </a:defRPr>
      </a:lvl8pPr>
      <a:lvl9pPr marL="706153" indent="-122596" algn="l" defTabSz="8432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61164" rtl="0" eaLnBrk="1" latinLnBrk="0" hangingPunct="1">
        <a:defRPr sz="1695" kern="1200">
          <a:solidFill>
            <a:schemeClr val="tx1"/>
          </a:solidFill>
          <a:latin typeface="+mn-lt"/>
          <a:ea typeface="+mn-ea"/>
          <a:cs typeface="+mn-cs"/>
        </a:defRPr>
      </a:lvl1pPr>
      <a:lvl2pPr marL="430580" algn="l" defTabSz="861164" rtl="0" eaLnBrk="1" latinLnBrk="0" hangingPunct="1">
        <a:defRPr sz="1695" kern="1200">
          <a:solidFill>
            <a:schemeClr val="tx1"/>
          </a:solidFill>
          <a:latin typeface="+mn-lt"/>
          <a:ea typeface="+mn-ea"/>
          <a:cs typeface="+mn-cs"/>
        </a:defRPr>
      </a:lvl2pPr>
      <a:lvl3pPr marL="861164" algn="l" defTabSz="861164" rtl="0" eaLnBrk="1" latinLnBrk="0" hangingPunct="1">
        <a:defRPr sz="1695" kern="1200">
          <a:solidFill>
            <a:schemeClr val="tx1"/>
          </a:solidFill>
          <a:latin typeface="+mn-lt"/>
          <a:ea typeface="+mn-ea"/>
          <a:cs typeface="+mn-cs"/>
        </a:defRPr>
      </a:lvl3pPr>
      <a:lvl4pPr marL="1291745" algn="l" defTabSz="861164" rtl="0" eaLnBrk="1" latinLnBrk="0" hangingPunct="1">
        <a:defRPr sz="1695" kern="1200">
          <a:solidFill>
            <a:schemeClr val="tx1"/>
          </a:solidFill>
          <a:latin typeface="+mn-lt"/>
          <a:ea typeface="+mn-ea"/>
          <a:cs typeface="+mn-cs"/>
        </a:defRPr>
      </a:lvl4pPr>
      <a:lvl5pPr marL="1722328" algn="l" defTabSz="861164" rtl="0" eaLnBrk="1" latinLnBrk="0" hangingPunct="1">
        <a:defRPr sz="1695" kern="1200">
          <a:solidFill>
            <a:schemeClr val="tx1"/>
          </a:solidFill>
          <a:latin typeface="+mn-lt"/>
          <a:ea typeface="+mn-ea"/>
          <a:cs typeface="+mn-cs"/>
        </a:defRPr>
      </a:lvl5pPr>
      <a:lvl6pPr marL="2152909" algn="l" defTabSz="861164" rtl="0" eaLnBrk="1" latinLnBrk="0" hangingPunct="1">
        <a:defRPr sz="1695" kern="1200">
          <a:solidFill>
            <a:schemeClr val="tx1"/>
          </a:solidFill>
          <a:latin typeface="+mn-lt"/>
          <a:ea typeface="+mn-ea"/>
          <a:cs typeface="+mn-cs"/>
        </a:defRPr>
      </a:lvl6pPr>
      <a:lvl7pPr marL="2583489" algn="l" defTabSz="861164" rtl="0" eaLnBrk="1" latinLnBrk="0" hangingPunct="1">
        <a:defRPr sz="1695" kern="1200">
          <a:solidFill>
            <a:schemeClr val="tx1"/>
          </a:solidFill>
          <a:latin typeface="+mn-lt"/>
          <a:ea typeface="+mn-ea"/>
          <a:cs typeface="+mn-cs"/>
        </a:defRPr>
      </a:lvl7pPr>
      <a:lvl8pPr marL="3014072" algn="l" defTabSz="861164" rtl="0" eaLnBrk="1" latinLnBrk="0" hangingPunct="1">
        <a:defRPr sz="1695" kern="1200">
          <a:solidFill>
            <a:schemeClr val="tx1"/>
          </a:solidFill>
          <a:latin typeface="+mn-lt"/>
          <a:ea typeface="+mn-ea"/>
          <a:cs typeface="+mn-cs"/>
        </a:defRPr>
      </a:lvl8pPr>
      <a:lvl9pPr marL="3444650" algn="l" defTabSz="861164" rtl="0" eaLnBrk="1" latinLnBrk="0" hangingPunct="1">
        <a:defRPr sz="16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D3517D4-8AE5-454B-B6F0-98232E7DF0F9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1064592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noProof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106313" y="1980016"/>
            <a:ext cx="198131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 noProof="0">
                <a:latin typeface="+mn-lt"/>
                <a:ea typeface="+mn-ea"/>
              </a:rPr>
              <a:t>Last Modified 11/7/2017 9:16 AM Arabian Standard Time</a:t>
            </a:r>
            <a:endParaRPr lang="en-US" sz="1632" baseline="0" noProof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86651" y="4197996"/>
            <a:ext cx="1620636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noProof="0">
                <a:latin typeface="+mn-lt"/>
                <a:ea typeface="+mn-ea"/>
              </a:rPr>
              <a:t>Printed 2/5/2016 5:38 AM India Standard Time</a:t>
            </a:r>
            <a:endParaRPr lang="en-US" sz="1632" baseline="0" noProof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 baseline="0" noProof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54261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297956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2" name="Rectangle 21"/>
          <p:cNvSpPr/>
          <p:nvPr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23" name="Slide Number"/>
          <p:cNvSpPr txBox="1">
            <a:spLocks/>
          </p:cNvSpPr>
          <p:nvPr/>
        </p:nvSpPr>
        <p:spPr bwMode="auto">
          <a:xfrm>
            <a:off x="11800046" y="6532392"/>
            <a:ext cx="158697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20" smtClean="0"/>
              <a:pPr lvl="0" algn="r"/>
              <a:t>‹#›</a:t>
            </a:fld>
            <a:endParaRPr lang="en-US" sz="1020"/>
          </a:p>
        </p:txBody>
      </p:sp>
      <p:grpSp>
        <p:nvGrpSpPr>
          <p:cNvPr id="24" name="Slide Elements" hidden="1"/>
          <p:cNvGrpSpPr/>
          <p:nvPr/>
        </p:nvGrpSpPr>
        <p:grpSpPr bwMode="auto">
          <a:xfrm>
            <a:off x="233259" y="6310255"/>
            <a:ext cx="9408032" cy="379128"/>
            <a:chOff x="121488" y="6349556"/>
            <a:chExt cx="8794114" cy="371581"/>
          </a:xfrm>
        </p:grpSpPr>
        <p:sp>
          <p:nvSpPr>
            <p:cNvPr id="25" name="Slide Elements"/>
            <p:cNvSpPr txBox="1">
              <a:spLocks noChangeArrowheads="1"/>
            </p:cNvSpPr>
            <p:nvPr/>
          </p:nvSpPr>
          <p:spPr bwMode="auto">
            <a:xfrm>
              <a:off x="121488" y="6349556"/>
              <a:ext cx="8794114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 baseline="0" noProof="0">
                  <a:latin typeface="+mn-lt"/>
                </a:rPr>
                <a:t>1 Footnote</a:t>
              </a:r>
            </a:p>
          </p:txBody>
        </p:sp>
        <p:sp>
          <p:nvSpPr>
            <p:cNvPr id="26" name="Slide Elements"/>
            <p:cNvSpPr>
              <a:spLocks noChangeArrowheads="1"/>
            </p:cNvSpPr>
            <p:nvPr/>
          </p:nvSpPr>
          <p:spPr bwMode="auto">
            <a:xfrm>
              <a:off x="121488" y="6564171"/>
              <a:ext cx="879411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5214" indent="-625214" defTabSz="932071">
                <a:tabLst>
                  <a:tab pos="630074" algn="l"/>
                </a:tabLst>
              </a:pPr>
              <a:r>
                <a:rPr lang="en-US" sz="1020" baseline="0" noProof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27" name="LegendBoxes" hidden="1"/>
          <p:cNvGrpSpPr>
            <a:grpSpLocks/>
          </p:cNvGrpSpPr>
          <p:nvPr/>
        </p:nvGrpSpPr>
        <p:grpSpPr bwMode="auto">
          <a:xfrm>
            <a:off x="10919880" y="296414"/>
            <a:ext cx="863916" cy="1017202"/>
            <a:chOff x="4936" y="176"/>
            <a:chExt cx="400" cy="628"/>
          </a:xfrm>
        </p:grpSpPr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2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36" name="LegendLines" hidden="1"/>
          <p:cNvGrpSpPr>
            <a:grpSpLocks/>
          </p:cNvGrpSpPr>
          <p:nvPr/>
        </p:nvGrpSpPr>
        <p:grpSpPr bwMode="auto">
          <a:xfrm>
            <a:off x="10500883" y="296414"/>
            <a:ext cx="1282915" cy="745084"/>
            <a:chOff x="4750" y="176"/>
            <a:chExt cx="594" cy="460"/>
          </a:xfrm>
        </p:grpSpPr>
        <p:sp>
          <p:nvSpPr>
            <p:cNvPr id="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</p:grpSp>
      <p:grpSp>
        <p:nvGrpSpPr>
          <p:cNvPr id="43" name="McKSticker" hidden="1"/>
          <p:cNvGrpSpPr/>
          <p:nvPr/>
        </p:nvGrpSpPr>
        <p:grpSpPr bwMode="auto">
          <a:xfrm>
            <a:off x="10474959" y="296413"/>
            <a:ext cx="1483784" cy="216679"/>
            <a:chOff x="7650155" y="285750"/>
            <a:chExt cx="1090620" cy="212366"/>
          </a:xfrm>
        </p:grpSpPr>
        <p:sp>
          <p:nvSpPr>
            <p:cNvPr id="44" name="StickerRectangle"/>
            <p:cNvSpPr>
              <a:spLocks noChangeArrowheads="1"/>
            </p:cNvSpPr>
            <p:nvPr/>
          </p:nvSpPr>
          <p:spPr bwMode="auto">
            <a:xfrm>
              <a:off x="7941310" y="285750"/>
              <a:ext cx="799465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>
                  <a:solidFill>
                    <a:srgbClr val="808080"/>
                  </a:solidFill>
                  <a:latin typeface="+mn-lt"/>
                  <a:ea typeface="Verdana" pitchFamily="34" charset="0"/>
                  <a:cs typeface="Verdana" pitchFamily="34" charset="0"/>
                </a:rPr>
                <a:t>PRELIMINARY</a:t>
              </a:r>
            </a:p>
          </p:txBody>
        </p:sp>
        <p:cxnSp>
          <p:nvCxnSpPr>
            <p:cNvPr id="45" name="AutoShape 31"/>
            <p:cNvCxnSpPr>
              <a:cxnSpLocks noChangeShapeType="1"/>
              <a:stCxn id="44" idx="2"/>
              <a:endCxn id="44" idx="4"/>
            </p:cNvCxnSpPr>
            <p:nvPr/>
          </p:nvCxnSpPr>
          <p:spPr bwMode="auto">
            <a:xfrm>
              <a:off x="765015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AutoShape 32"/>
            <p:cNvCxnSpPr>
              <a:cxnSpLocks noChangeShapeType="1"/>
              <a:stCxn id="44" idx="4"/>
              <a:endCxn id="44" idx="6"/>
            </p:cNvCxnSpPr>
            <p:nvPr/>
          </p:nvCxnSpPr>
          <p:spPr bwMode="auto">
            <a:xfrm>
              <a:off x="7650155" y="498116"/>
              <a:ext cx="109062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7" name="LegendMoons" hidden="1"/>
          <p:cNvGrpSpPr/>
          <p:nvPr/>
        </p:nvGrpSpPr>
        <p:grpSpPr bwMode="auto">
          <a:xfrm>
            <a:off x="10828951" y="296414"/>
            <a:ext cx="955651" cy="1333054"/>
            <a:chOff x="7875175" y="286625"/>
            <a:chExt cx="702428" cy="1306516"/>
          </a:xfrm>
        </p:grpSpPr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6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7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62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3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57" name="MoonLegend1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59" name="Arc 42" hidden="1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</p:grpSp>
      <p:sp>
        <p:nvSpPr>
          <p:cNvPr id="70" name="Rectangle 1027"/>
          <p:cNvSpPr txBox="1">
            <a:spLocks noChangeArrowheads="1"/>
          </p:cNvSpPr>
          <p:nvPr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A72F84AC-84F7-445E-932F-741226E6EC22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256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D3517D4-8AE5-454B-B6F0-98232E7DF0F9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1064592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noProof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106313" y="1980016"/>
            <a:ext cx="198131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 noProof="0">
                <a:latin typeface="+mn-lt"/>
                <a:ea typeface="+mn-ea"/>
              </a:rPr>
              <a:t>Last Modified 11/7/2017 9:16 AM Arabian Standard Time</a:t>
            </a:r>
            <a:endParaRPr lang="en-US" sz="1632" baseline="0" noProof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86651" y="4197996"/>
            <a:ext cx="1620636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noProof="0">
                <a:latin typeface="+mn-lt"/>
                <a:ea typeface="+mn-ea"/>
              </a:rPr>
              <a:t>Printed 2/5/2016 5:38 AM India Standard Time</a:t>
            </a:r>
            <a:endParaRPr lang="en-US" sz="1632" baseline="0" noProof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 baseline="0" noProof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54261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297956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2" name="Rectangle 21"/>
          <p:cNvSpPr/>
          <p:nvPr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23" name="Slide Number"/>
          <p:cNvSpPr txBox="1">
            <a:spLocks/>
          </p:cNvSpPr>
          <p:nvPr/>
        </p:nvSpPr>
        <p:spPr bwMode="auto">
          <a:xfrm>
            <a:off x="11800046" y="6532392"/>
            <a:ext cx="158697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20" smtClean="0"/>
              <a:pPr lvl="0" algn="r"/>
              <a:t>‹#›</a:t>
            </a:fld>
            <a:endParaRPr lang="en-US" sz="1020"/>
          </a:p>
        </p:txBody>
      </p:sp>
      <p:grpSp>
        <p:nvGrpSpPr>
          <p:cNvPr id="24" name="Slide Elements" hidden="1"/>
          <p:cNvGrpSpPr/>
          <p:nvPr/>
        </p:nvGrpSpPr>
        <p:grpSpPr bwMode="auto">
          <a:xfrm>
            <a:off x="233259" y="6310255"/>
            <a:ext cx="9408032" cy="379128"/>
            <a:chOff x="121488" y="6349556"/>
            <a:chExt cx="8794114" cy="371581"/>
          </a:xfrm>
        </p:grpSpPr>
        <p:sp>
          <p:nvSpPr>
            <p:cNvPr id="25" name="Slide Elements"/>
            <p:cNvSpPr txBox="1">
              <a:spLocks noChangeArrowheads="1"/>
            </p:cNvSpPr>
            <p:nvPr/>
          </p:nvSpPr>
          <p:spPr bwMode="auto">
            <a:xfrm>
              <a:off x="121488" y="6349556"/>
              <a:ext cx="8794114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 baseline="0" noProof="0">
                  <a:latin typeface="+mn-lt"/>
                </a:rPr>
                <a:t>1 Footnote</a:t>
              </a:r>
            </a:p>
          </p:txBody>
        </p:sp>
        <p:sp>
          <p:nvSpPr>
            <p:cNvPr id="26" name="Slide Elements"/>
            <p:cNvSpPr>
              <a:spLocks noChangeArrowheads="1"/>
            </p:cNvSpPr>
            <p:nvPr/>
          </p:nvSpPr>
          <p:spPr bwMode="auto">
            <a:xfrm>
              <a:off x="121488" y="6564171"/>
              <a:ext cx="879411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5214" indent="-625214" defTabSz="932071">
                <a:tabLst>
                  <a:tab pos="630074" algn="l"/>
                </a:tabLst>
              </a:pPr>
              <a:r>
                <a:rPr lang="en-US" sz="1020" baseline="0" noProof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27" name="LegendBoxes" hidden="1"/>
          <p:cNvGrpSpPr>
            <a:grpSpLocks/>
          </p:cNvGrpSpPr>
          <p:nvPr/>
        </p:nvGrpSpPr>
        <p:grpSpPr bwMode="auto">
          <a:xfrm>
            <a:off x="10919880" y="296414"/>
            <a:ext cx="863916" cy="1017202"/>
            <a:chOff x="4936" y="176"/>
            <a:chExt cx="400" cy="628"/>
          </a:xfrm>
        </p:grpSpPr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2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36" name="LegendLines" hidden="1"/>
          <p:cNvGrpSpPr>
            <a:grpSpLocks/>
          </p:cNvGrpSpPr>
          <p:nvPr/>
        </p:nvGrpSpPr>
        <p:grpSpPr bwMode="auto">
          <a:xfrm>
            <a:off x="10500883" y="296414"/>
            <a:ext cx="1282915" cy="745084"/>
            <a:chOff x="4750" y="176"/>
            <a:chExt cx="594" cy="460"/>
          </a:xfrm>
        </p:grpSpPr>
        <p:sp>
          <p:nvSpPr>
            <p:cNvPr id="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</p:grpSp>
      <p:grpSp>
        <p:nvGrpSpPr>
          <p:cNvPr id="43" name="McKSticker" hidden="1"/>
          <p:cNvGrpSpPr/>
          <p:nvPr/>
        </p:nvGrpSpPr>
        <p:grpSpPr bwMode="auto">
          <a:xfrm>
            <a:off x="10474959" y="296413"/>
            <a:ext cx="1483784" cy="216679"/>
            <a:chOff x="7650155" y="285750"/>
            <a:chExt cx="1090620" cy="212366"/>
          </a:xfrm>
        </p:grpSpPr>
        <p:sp>
          <p:nvSpPr>
            <p:cNvPr id="44" name="StickerRectangle"/>
            <p:cNvSpPr>
              <a:spLocks noChangeArrowheads="1"/>
            </p:cNvSpPr>
            <p:nvPr/>
          </p:nvSpPr>
          <p:spPr bwMode="auto">
            <a:xfrm>
              <a:off x="7941310" y="285750"/>
              <a:ext cx="799465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>
                  <a:solidFill>
                    <a:srgbClr val="808080"/>
                  </a:solidFill>
                  <a:latin typeface="+mn-lt"/>
                  <a:ea typeface="Verdana" pitchFamily="34" charset="0"/>
                  <a:cs typeface="Verdana" pitchFamily="34" charset="0"/>
                </a:rPr>
                <a:t>PRELIMINARY</a:t>
              </a:r>
            </a:p>
          </p:txBody>
        </p:sp>
        <p:cxnSp>
          <p:nvCxnSpPr>
            <p:cNvPr id="45" name="AutoShape 31"/>
            <p:cNvCxnSpPr>
              <a:cxnSpLocks noChangeShapeType="1"/>
              <a:stCxn id="44" idx="2"/>
              <a:endCxn id="44" idx="4"/>
            </p:cNvCxnSpPr>
            <p:nvPr/>
          </p:nvCxnSpPr>
          <p:spPr bwMode="auto">
            <a:xfrm>
              <a:off x="765015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AutoShape 32"/>
            <p:cNvCxnSpPr>
              <a:cxnSpLocks noChangeShapeType="1"/>
              <a:stCxn id="44" idx="4"/>
              <a:endCxn id="44" idx="6"/>
            </p:cNvCxnSpPr>
            <p:nvPr/>
          </p:nvCxnSpPr>
          <p:spPr bwMode="auto">
            <a:xfrm>
              <a:off x="7650155" y="498116"/>
              <a:ext cx="109062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7" name="LegendMoons" hidden="1"/>
          <p:cNvGrpSpPr/>
          <p:nvPr/>
        </p:nvGrpSpPr>
        <p:grpSpPr bwMode="auto">
          <a:xfrm>
            <a:off x="10828951" y="296414"/>
            <a:ext cx="955651" cy="1333054"/>
            <a:chOff x="7875175" y="286625"/>
            <a:chExt cx="702428" cy="1306516"/>
          </a:xfrm>
        </p:grpSpPr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6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7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62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3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57" name="MoonLegend1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59" name="Arc 42" hidden="1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</p:grpSp>
      <p:sp>
        <p:nvSpPr>
          <p:cNvPr id="70" name="Rectangle 1027"/>
          <p:cNvSpPr txBox="1">
            <a:spLocks noChangeArrowheads="1"/>
          </p:cNvSpPr>
          <p:nvPr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DE7020DC-09F2-4B76-84A5-9A4B3E260FAC}"/>
              </a:ext>
            </a:extLst>
          </p:cNvPr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 dirty="0">
              <a:solidFill>
                <a:schemeClr val="tx1"/>
              </a:solidFill>
            </a:endParaRPr>
          </a:p>
        </p:txBody>
      </p:sp>
      <p:sp>
        <p:nvSpPr>
          <p:cNvPr id="71" name="Slide Number">
            <a:extLst>
              <a:ext uri="{FF2B5EF4-FFF2-40B4-BE49-F238E27FC236}">
                <a16:creationId xmlns:a16="http://schemas.microsoft.com/office/drawing/2014/main" id="{0932F34D-633A-498A-9744-46E4AB92F321}"/>
              </a:ext>
            </a:extLst>
          </p:cNvPr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72" name="Picture 606" descr="Image result for al futtaim logo">
            <a:extLst>
              <a:ext uri="{FF2B5EF4-FFF2-40B4-BE49-F238E27FC236}">
                <a16:creationId xmlns:a16="http://schemas.microsoft.com/office/drawing/2014/main" id="{E6537552-2552-4166-ADAE-EC83BBEC335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9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7932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D3517D4-8AE5-454B-B6F0-98232E7DF0F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1064592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noProof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106313" y="1980016"/>
            <a:ext cx="198131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 noProof="0">
                <a:latin typeface="+mn-lt"/>
                <a:ea typeface="+mn-ea"/>
              </a:rPr>
              <a:t>Last Modified 11/7/2017 9:16 AM Arabian Standard Time</a:t>
            </a:r>
            <a:endParaRPr lang="en-US" sz="1632" baseline="0" noProof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86651" y="4197996"/>
            <a:ext cx="1620636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noProof="0">
                <a:latin typeface="+mn-lt"/>
                <a:ea typeface="+mn-ea"/>
              </a:rPr>
              <a:t>Printed 2/5/2016 5:38 AM India Standard Time</a:t>
            </a:r>
            <a:endParaRPr lang="en-US" sz="1632" baseline="0" noProof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 baseline="0" noProof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54261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297956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2" name="Rectangle 21"/>
          <p:cNvSpPr/>
          <p:nvPr/>
        </p:nvSpPr>
        <p:spPr bwMode="auto">
          <a:xfrm>
            <a:off x="0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23" name="Slide Number"/>
          <p:cNvSpPr txBox="1">
            <a:spLocks/>
          </p:cNvSpPr>
          <p:nvPr/>
        </p:nvSpPr>
        <p:spPr bwMode="auto">
          <a:xfrm>
            <a:off x="11800046" y="6532392"/>
            <a:ext cx="158697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20" smtClean="0"/>
              <a:pPr lvl="0" algn="r"/>
              <a:t>‹#›</a:t>
            </a:fld>
            <a:endParaRPr lang="en-US" sz="1020"/>
          </a:p>
        </p:txBody>
      </p:sp>
      <p:grpSp>
        <p:nvGrpSpPr>
          <p:cNvPr id="24" name="Slide Elements" hidden="1"/>
          <p:cNvGrpSpPr/>
          <p:nvPr/>
        </p:nvGrpSpPr>
        <p:grpSpPr bwMode="auto">
          <a:xfrm>
            <a:off x="233259" y="6310255"/>
            <a:ext cx="9408032" cy="379128"/>
            <a:chOff x="121488" y="6349556"/>
            <a:chExt cx="8794114" cy="371581"/>
          </a:xfrm>
        </p:grpSpPr>
        <p:sp>
          <p:nvSpPr>
            <p:cNvPr id="25" name="Slide Elements"/>
            <p:cNvSpPr txBox="1">
              <a:spLocks noChangeArrowheads="1"/>
            </p:cNvSpPr>
            <p:nvPr/>
          </p:nvSpPr>
          <p:spPr bwMode="auto">
            <a:xfrm>
              <a:off x="121488" y="6349556"/>
              <a:ext cx="8794114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 baseline="0" noProof="0">
                  <a:latin typeface="+mn-lt"/>
                </a:rPr>
                <a:t>1 Footnote</a:t>
              </a:r>
            </a:p>
          </p:txBody>
        </p:sp>
        <p:sp>
          <p:nvSpPr>
            <p:cNvPr id="26" name="Slide Elements"/>
            <p:cNvSpPr>
              <a:spLocks noChangeArrowheads="1"/>
            </p:cNvSpPr>
            <p:nvPr/>
          </p:nvSpPr>
          <p:spPr bwMode="auto">
            <a:xfrm>
              <a:off x="121488" y="6564171"/>
              <a:ext cx="879411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5214" indent="-625214" defTabSz="932071">
                <a:tabLst>
                  <a:tab pos="630074" algn="l"/>
                </a:tabLst>
              </a:pPr>
              <a:r>
                <a:rPr lang="en-US" sz="1020" baseline="0" noProof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27" name="LegendBoxes" hidden="1"/>
          <p:cNvGrpSpPr>
            <a:grpSpLocks/>
          </p:cNvGrpSpPr>
          <p:nvPr/>
        </p:nvGrpSpPr>
        <p:grpSpPr bwMode="auto">
          <a:xfrm>
            <a:off x="10919880" y="296414"/>
            <a:ext cx="863916" cy="1017202"/>
            <a:chOff x="4936" y="176"/>
            <a:chExt cx="400" cy="628"/>
          </a:xfrm>
        </p:grpSpPr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2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3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36" name="LegendLines" hidden="1"/>
          <p:cNvGrpSpPr>
            <a:grpSpLocks/>
          </p:cNvGrpSpPr>
          <p:nvPr/>
        </p:nvGrpSpPr>
        <p:grpSpPr bwMode="auto">
          <a:xfrm>
            <a:off x="10500883" y="296414"/>
            <a:ext cx="1282915" cy="745084"/>
            <a:chOff x="4750" y="176"/>
            <a:chExt cx="594" cy="460"/>
          </a:xfrm>
        </p:grpSpPr>
        <p:sp>
          <p:nvSpPr>
            <p:cNvPr id="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</p:grpSp>
      <p:grpSp>
        <p:nvGrpSpPr>
          <p:cNvPr id="43" name="McKSticker" hidden="1"/>
          <p:cNvGrpSpPr/>
          <p:nvPr/>
        </p:nvGrpSpPr>
        <p:grpSpPr bwMode="auto">
          <a:xfrm>
            <a:off x="10474959" y="296413"/>
            <a:ext cx="1483784" cy="216679"/>
            <a:chOff x="7650155" y="285750"/>
            <a:chExt cx="1090620" cy="212366"/>
          </a:xfrm>
        </p:grpSpPr>
        <p:sp>
          <p:nvSpPr>
            <p:cNvPr id="44" name="StickerRectangle"/>
            <p:cNvSpPr>
              <a:spLocks noChangeArrowheads="1"/>
            </p:cNvSpPr>
            <p:nvPr/>
          </p:nvSpPr>
          <p:spPr bwMode="auto">
            <a:xfrm>
              <a:off x="7941310" y="285750"/>
              <a:ext cx="799465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>
                  <a:solidFill>
                    <a:srgbClr val="808080"/>
                  </a:solidFill>
                  <a:latin typeface="+mn-lt"/>
                  <a:ea typeface="Verdana" pitchFamily="34" charset="0"/>
                  <a:cs typeface="Verdana" pitchFamily="34" charset="0"/>
                </a:rPr>
                <a:t>PRELIMINARY</a:t>
              </a:r>
            </a:p>
          </p:txBody>
        </p:sp>
        <p:cxnSp>
          <p:nvCxnSpPr>
            <p:cNvPr id="45" name="AutoShape 31"/>
            <p:cNvCxnSpPr>
              <a:cxnSpLocks noChangeShapeType="1"/>
              <a:stCxn id="44" idx="2"/>
              <a:endCxn id="44" idx="4"/>
            </p:cNvCxnSpPr>
            <p:nvPr/>
          </p:nvCxnSpPr>
          <p:spPr bwMode="auto">
            <a:xfrm>
              <a:off x="765015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AutoShape 32"/>
            <p:cNvCxnSpPr>
              <a:cxnSpLocks noChangeShapeType="1"/>
              <a:stCxn id="44" idx="4"/>
              <a:endCxn id="44" idx="6"/>
            </p:cNvCxnSpPr>
            <p:nvPr/>
          </p:nvCxnSpPr>
          <p:spPr bwMode="auto">
            <a:xfrm>
              <a:off x="7650155" y="498116"/>
              <a:ext cx="109062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7" name="LegendMoons" hidden="1"/>
          <p:cNvGrpSpPr/>
          <p:nvPr/>
        </p:nvGrpSpPr>
        <p:grpSpPr bwMode="auto">
          <a:xfrm>
            <a:off x="10828951" y="296414"/>
            <a:ext cx="955651" cy="1333054"/>
            <a:chOff x="7875175" y="286625"/>
            <a:chExt cx="702428" cy="1306516"/>
          </a:xfrm>
        </p:grpSpPr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6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7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62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3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  <a:ea typeface="Verdana" pitchFamily="34" charset="0"/>
                  <a:cs typeface="Verdana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57" name="MoonLegend1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59" name="Arc 42" hidden="1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>
                  <a:latin typeface="+mn-lt"/>
                  <a:ea typeface="Verdana" pitchFamily="34" charset="0"/>
                  <a:cs typeface="Verdana" pitchFamily="34" charset="0"/>
                </a:endParaRPr>
              </a:p>
            </p:txBody>
          </p:sp>
        </p:grpSp>
      </p:grpSp>
      <p:sp>
        <p:nvSpPr>
          <p:cNvPr id="70" name="Rectangle 1027"/>
          <p:cNvSpPr txBox="1">
            <a:spLocks noChangeArrowheads="1"/>
          </p:cNvSpPr>
          <p:nvPr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A72F84AC-84F7-445E-932F-741226E6EC22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/>
          <a:stretch>
            <a:fillRect/>
          </a:stretch>
        </p:blipFill>
        <p:spPr>
          <a:xfrm>
            <a:off x="10763545" y="6499882"/>
            <a:ext cx="937860" cy="188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026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2" r:id="rId5"/>
    <p:sldLayoutId id="2147483783" r:id="rId6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4.xml"/><Relationship Id="rId2" Type="http://schemas.openxmlformats.org/officeDocument/2006/relationships/tags" Target="../tags/tag2913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98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4.xml"/><Relationship Id="rId2" Type="http://schemas.openxmlformats.org/officeDocument/2006/relationships/tags" Target="../tags/tag2914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9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184527-D1E4-467A-A042-DB2CCEB38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735" y="663399"/>
            <a:ext cx="11358030" cy="279421"/>
          </a:xfrm>
        </p:spPr>
        <p:txBody>
          <a:bodyPr/>
          <a:lstStyle/>
          <a:p>
            <a:r>
              <a:rPr lang="en-US" b="0" dirty="0">
                <a:solidFill>
                  <a:srgbClr val="005BAA"/>
                </a:solidFill>
              </a:rPr>
              <a:t>Action Plan POAP [Plan on a page]</a:t>
            </a:r>
            <a:br>
              <a:rPr lang="en-US" b="0" dirty="0">
                <a:solidFill>
                  <a:srgbClr val="005BAA"/>
                </a:solidFill>
              </a:rPr>
            </a:br>
            <a:endParaRPr lang="en-US" b="0" dirty="0">
              <a:solidFill>
                <a:srgbClr val="FF0000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9658ACB-FFB9-4E29-9F3A-532EB45A301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8" name="Table 11">
            <a:extLst>
              <a:ext uri="{FF2B5EF4-FFF2-40B4-BE49-F238E27FC236}">
                <a16:creationId xmlns:a16="http://schemas.microsoft.com/office/drawing/2014/main" id="{FD450C84-1C38-4710-8713-5B39CD9A4E4C}"/>
              </a:ext>
            </a:extLst>
          </p:cNvPr>
          <p:cNvGraphicFramePr>
            <a:graphicFrameLocks noGrp="1"/>
          </p:cNvGraphicFramePr>
          <p:nvPr/>
        </p:nvGraphicFramePr>
        <p:xfrm>
          <a:off x="10088984" y="297609"/>
          <a:ext cx="1874416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2310">
                  <a:extLst>
                    <a:ext uri="{9D8B030D-6E8A-4147-A177-3AD203B41FA5}">
                      <a16:colId xmlns:a16="http://schemas.microsoft.com/office/drawing/2014/main" val="678823474"/>
                    </a:ext>
                  </a:extLst>
                </a:gridCol>
                <a:gridCol w="652106">
                  <a:extLst>
                    <a:ext uri="{9D8B030D-6E8A-4147-A177-3AD203B41FA5}">
                      <a16:colId xmlns:a16="http://schemas.microsoft.com/office/drawing/2014/main" val="46743216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Project Statu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1271811"/>
                  </a:ext>
                </a:extLst>
              </a:tr>
            </a:tbl>
          </a:graphicData>
        </a:graphic>
      </p:graphicFrame>
      <p:sp>
        <p:nvSpPr>
          <p:cNvPr id="63" name="Rectangle 62">
            <a:extLst>
              <a:ext uri="{FF2B5EF4-FFF2-40B4-BE49-F238E27FC236}">
                <a16:creationId xmlns:a16="http://schemas.microsoft.com/office/drawing/2014/main" id="{96A7D331-A931-44F6-97CB-7C4CA9011A6A}"/>
              </a:ext>
            </a:extLst>
          </p:cNvPr>
          <p:cNvSpPr/>
          <p:nvPr/>
        </p:nvSpPr>
        <p:spPr>
          <a:xfrm>
            <a:off x="33454" y="5507807"/>
            <a:ext cx="12061682" cy="100158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BC3CF85-B91F-4278-B487-657FE8445A79}"/>
              </a:ext>
            </a:extLst>
          </p:cNvPr>
          <p:cNvGrpSpPr/>
          <p:nvPr/>
        </p:nvGrpSpPr>
        <p:grpSpPr>
          <a:xfrm>
            <a:off x="2608669" y="1295400"/>
            <a:ext cx="630301" cy="4492083"/>
            <a:chOff x="1908577" y="1149687"/>
            <a:chExt cx="630312" cy="5461830"/>
          </a:xfrm>
        </p:grpSpPr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B8BC4A12-4525-48B7-82B7-A859959DAD05}"/>
                </a:ext>
              </a:extLst>
            </p:cNvPr>
            <p:cNvCxnSpPr>
              <a:cxnSpLocks/>
              <a:endCxn id="11" idx="0"/>
            </p:cNvCxnSpPr>
            <p:nvPr userDrawn="1"/>
          </p:nvCxnSpPr>
          <p:spPr>
            <a:xfrm>
              <a:off x="2223734" y="1149687"/>
              <a:ext cx="0" cy="5270056"/>
            </a:xfrm>
            <a:prstGeom prst="straightConnector1">
              <a:avLst/>
            </a:prstGeom>
            <a:ln w="1905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C6EF6DE-ECAE-489A-855D-D4DD99187D11}"/>
                </a:ext>
              </a:extLst>
            </p:cNvPr>
            <p:cNvSpPr txBox="1"/>
            <p:nvPr userDrawn="1"/>
          </p:nvSpPr>
          <p:spPr>
            <a:xfrm>
              <a:off x="1908577" y="6419743"/>
              <a:ext cx="630312" cy="191774"/>
            </a:xfrm>
            <a:prstGeom prst="rect">
              <a:avLst/>
            </a:prstGeom>
            <a:noFill/>
            <a:ln w="19050">
              <a:solidFill>
                <a:srgbClr val="C00000"/>
              </a:solidFill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view date</a:t>
              </a:r>
            </a:p>
          </p:txBody>
        </p:sp>
      </p:grp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AC552C6-5CBA-4631-923B-FDA8CF0C9B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1266121-46B1-477E-A9CE-62CF65BAA8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A0CB9D5-299E-4AE0-988E-964E4FD462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924C5980-99A0-464F-8ABD-1885EAE430E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4" name="Title 1">
            <a:extLst>
              <a:ext uri="{FF2B5EF4-FFF2-40B4-BE49-F238E27FC236}">
                <a16:creationId xmlns:a16="http://schemas.microsoft.com/office/drawing/2014/main" id="{F6B93CC7-D7FC-47A4-A82F-24B23E9AA136}"/>
              </a:ext>
            </a:extLst>
          </p:cNvPr>
          <p:cNvSpPr txBox="1">
            <a:spLocks/>
          </p:cNvSpPr>
          <p:nvPr/>
        </p:nvSpPr>
        <p:spPr>
          <a:xfrm>
            <a:off x="331360" y="294067"/>
            <a:ext cx="1253600" cy="279421"/>
          </a:xfrm>
          <a:prstGeom prst="rect">
            <a:avLst/>
          </a:prstGeom>
        </p:spPr>
        <p:txBody>
          <a:bodyPr vert="horz"/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1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400" b="0" u="sng" kern="0" dirty="0">
                <a:solidFill>
                  <a:schemeClr val="tx1"/>
                </a:solidFill>
              </a:rPr>
              <a:t>Appendix 6</a:t>
            </a:r>
            <a:br>
              <a:rPr lang="en-US" sz="1400" b="0" kern="0" dirty="0">
                <a:solidFill>
                  <a:schemeClr val="tx1"/>
                </a:solidFill>
              </a:rPr>
            </a:br>
            <a:endParaRPr lang="en-US" sz="1400" b="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32546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6C32FF6-FE5F-4FFE-9EAD-5E65546729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9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6C32FF6-FE5F-4FFE-9EAD-5E6554672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7DD5FF-877F-406E-8A66-22D2675074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ction Plan - Follow-up and Progress Review</a:t>
            </a:r>
            <a:br>
              <a:rPr lang="en-US" dirty="0"/>
            </a:b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A4EEBD-C734-472B-8A29-62779FEBDA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5550" y="1263311"/>
            <a:ext cx="5802350" cy="3295587"/>
          </a:xfrm>
        </p:spPr>
        <p:txBody>
          <a:bodyPr>
            <a:normAutofit/>
          </a:bodyPr>
          <a:lstStyle/>
          <a:p>
            <a:pPr marL="0" lvl="1" indent="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84138" algn="l"/>
              </a:tabLst>
              <a:defRPr/>
            </a:pPr>
            <a:endParaRPr lang="en-US" sz="1100" kern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0B5E8E3-6673-4440-B746-90DDA1A788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34100" y="1282362"/>
            <a:ext cx="5802350" cy="3295587"/>
          </a:xfrm>
        </p:spPr>
        <p:txBody>
          <a:bodyPr>
            <a:normAutofit/>
          </a:bodyPr>
          <a:lstStyle/>
          <a:p>
            <a:pPr marL="0" lvl="1" indent="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84138" algn="l"/>
              </a:tabLst>
              <a:defRPr/>
            </a:pPr>
            <a:endParaRPr lang="en-US" sz="1100" kern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09380F-10C0-4BCF-A66D-B9A73262F6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5550" y="4953869"/>
            <a:ext cx="5802350" cy="1123081"/>
          </a:xfrm>
        </p:spPr>
        <p:txBody>
          <a:bodyPr>
            <a:normAutofit/>
          </a:bodyPr>
          <a:lstStyle/>
          <a:p>
            <a:pPr marL="0" lvl="1" indent="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84138" algn="l"/>
              </a:tabLst>
              <a:defRPr/>
            </a:pPr>
            <a:endParaRPr lang="en-US" sz="1000" kern="12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23F9F4-F523-4A8E-9B9F-6694046196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34100" y="4953869"/>
            <a:ext cx="5802350" cy="1123081"/>
          </a:xfrm>
        </p:spPr>
        <p:txBody>
          <a:bodyPr>
            <a:normAutofit/>
          </a:bodyPr>
          <a:lstStyle/>
          <a:p>
            <a:pPr marL="171450" indent="-171450"/>
            <a:endParaRPr lang="en-US" sz="1000" kern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50134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184527-D1E4-467A-A042-DB2CCEB38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8" y="234863"/>
            <a:ext cx="11730141" cy="369332"/>
          </a:xfrm>
        </p:spPr>
        <p:txBody>
          <a:bodyPr/>
          <a:lstStyle/>
          <a:p>
            <a:r>
              <a:rPr lang="en-US" b="0" dirty="0">
                <a:solidFill>
                  <a:srgbClr val="005BAA"/>
                </a:solidFill>
              </a:rPr>
              <a:t>Action Plan POAP [Plan on a page]</a:t>
            </a:r>
            <a:br>
              <a:rPr lang="en-US" b="0" dirty="0">
                <a:solidFill>
                  <a:srgbClr val="005BAA"/>
                </a:solidFill>
              </a:rPr>
            </a:br>
            <a:r>
              <a:rPr lang="en-US" sz="1400" b="0" dirty="0">
                <a:solidFill>
                  <a:srgbClr val="FF0000"/>
                </a:solidFill>
              </a:rPr>
              <a:t>Examples</a:t>
            </a:r>
            <a:endParaRPr lang="en-US" b="0" dirty="0">
              <a:solidFill>
                <a:srgbClr val="FF0000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957857-47B9-494F-B4DF-802405F742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Our Dialogu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607393-0C71-4363-9DCD-5F739B0C59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Our Customer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4F0BD1-A35A-47B9-9E0C-A5B1F990AA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My Job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6BD5761-170D-4223-A66F-57C48D97C1F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My Growth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9658ACB-FFB9-4E29-9F3A-532EB45A301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8" name="Table 11">
            <a:extLst>
              <a:ext uri="{FF2B5EF4-FFF2-40B4-BE49-F238E27FC236}">
                <a16:creationId xmlns:a16="http://schemas.microsoft.com/office/drawing/2014/main" id="{FD450C84-1C38-4710-8713-5B39CD9A4E4C}"/>
              </a:ext>
            </a:extLst>
          </p:cNvPr>
          <p:cNvGraphicFramePr>
            <a:graphicFrameLocks noGrp="1"/>
          </p:cNvGraphicFramePr>
          <p:nvPr/>
        </p:nvGraphicFramePr>
        <p:xfrm>
          <a:off x="10088984" y="297609"/>
          <a:ext cx="1874416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2310">
                  <a:extLst>
                    <a:ext uri="{9D8B030D-6E8A-4147-A177-3AD203B41FA5}">
                      <a16:colId xmlns:a16="http://schemas.microsoft.com/office/drawing/2014/main" val="678823474"/>
                    </a:ext>
                  </a:extLst>
                </a:gridCol>
                <a:gridCol w="652106">
                  <a:extLst>
                    <a:ext uri="{9D8B030D-6E8A-4147-A177-3AD203B41FA5}">
                      <a16:colId xmlns:a16="http://schemas.microsoft.com/office/drawing/2014/main" val="46743216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Project Statu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1271811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921C9162-2692-4155-ABE1-E19F7A8D3778}"/>
              </a:ext>
            </a:extLst>
          </p:cNvPr>
          <p:cNvSpPr txBox="1"/>
          <p:nvPr/>
        </p:nvSpPr>
        <p:spPr>
          <a:xfrm>
            <a:off x="3956806" y="1696872"/>
            <a:ext cx="11342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Kick-off skip level meeting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0D3FF02-AACE-4382-B722-AE78FE9E8DB5}"/>
              </a:ext>
            </a:extLst>
          </p:cNvPr>
          <p:cNvSpPr txBox="1"/>
          <p:nvPr/>
        </p:nvSpPr>
        <p:spPr>
          <a:xfrm>
            <a:off x="8277236" y="1926704"/>
            <a:ext cx="11342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Skip level meet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ADD1FDA-75A3-43B4-BAD7-4B23205ABA35}"/>
              </a:ext>
            </a:extLst>
          </p:cNvPr>
          <p:cNvSpPr txBox="1"/>
          <p:nvPr/>
        </p:nvSpPr>
        <p:spPr>
          <a:xfrm>
            <a:off x="3485920" y="2263315"/>
            <a:ext cx="91558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Host townhal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74CEE7-1601-4BBF-8EFB-4ED118F500A1}"/>
              </a:ext>
            </a:extLst>
          </p:cNvPr>
          <p:cNvSpPr txBox="1"/>
          <p:nvPr/>
        </p:nvSpPr>
        <p:spPr>
          <a:xfrm>
            <a:off x="6340820" y="2263315"/>
            <a:ext cx="91558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Host townhal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0F9D681-4E80-434A-8E4D-46CB72DE5C18}"/>
              </a:ext>
            </a:extLst>
          </p:cNvPr>
          <p:cNvSpPr txBox="1"/>
          <p:nvPr/>
        </p:nvSpPr>
        <p:spPr>
          <a:xfrm>
            <a:off x="11184973" y="2247517"/>
            <a:ext cx="91558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Host townhal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E8CFAD4-B1CF-46F1-B08B-4C135668D244}"/>
              </a:ext>
            </a:extLst>
          </p:cNvPr>
          <p:cNvSpPr txBox="1"/>
          <p:nvPr/>
        </p:nvSpPr>
        <p:spPr>
          <a:xfrm>
            <a:off x="9186859" y="2252164"/>
            <a:ext cx="91558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Host townhal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6B5400C-0DE2-4902-982A-FC2A21ACBC33}"/>
              </a:ext>
            </a:extLst>
          </p:cNvPr>
          <p:cNvSpPr txBox="1"/>
          <p:nvPr/>
        </p:nvSpPr>
        <p:spPr>
          <a:xfrm>
            <a:off x="6333627" y="1530489"/>
            <a:ext cx="13437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Launch Pulse Survey</a:t>
            </a:r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171A796C-B999-4E8B-96B5-6A132157CBC3}"/>
              </a:ext>
            </a:extLst>
          </p:cNvPr>
          <p:cNvSpPr/>
          <p:nvPr/>
        </p:nvSpPr>
        <p:spPr>
          <a:xfrm>
            <a:off x="3388929" y="2274018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9DC2DC39-6274-453B-8533-E5501B276976}"/>
              </a:ext>
            </a:extLst>
          </p:cNvPr>
          <p:cNvSpPr/>
          <p:nvPr/>
        </p:nvSpPr>
        <p:spPr>
          <a:xfrm>
            <a:off x="3897250" y="1792513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25" name="Isosceles Triangle 24">
            <a:extLst>
              <a:ext uri="{FF2B5EF4-FFF2-40B4-BE49-F238E27FC236}">
                <a16:creationId xmlns:a16="http://schemas.microsoft.com/office/drawing/2014/main" id="{156FEBF2-80B4-4F4D-8242-D77D731788AE}"/>
              </a:ext>
            </a:extLst>
          </p:cNvPr>
          <p:cNvSpPr/>
          <p:nvPr/>
        </p:nvSpPr>
        <p:spPr>
          <a:xfrm>
            <a:off x="8202552" y="1962131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26" name="Isosceles Triangle 25">
            <a:extLst>
              <a:ext uri="{FF2B5EF4-FFF2-40B4-BE49-F238E27FC236}">
                <a16:creationId xmlns:a16="http://schemas.microsoft.com/office/drawing/2014/main" id="{173CD5F0-1E63-436F-8340-D5A1AD12CD8F}"/>
              </a:ext>
            </a:extLst>
          </p:cNvPr>
          <p:cNvSpPr/>
          <p:nvPr/>
        </p:nvSpPr>
        <p:spPr>
          <a:xfrm>
            <a:off x="6264011" y="2296323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27" name="Isosceles Triangle 26">
            <a:extLst>
              <a:ext uri="{FF2B5EF4-FFF2-40B4-BE49-F238E27FC236}">
                <a16:creationId xmlns:a16="http://schemas.microsoft.com/office/drawing/2014/main" id="{EAEDAA55-9EB6-4692-96E5-7EB5327B7148}"/>
              </a:ext>
            </a:extLst>
          </p:cNvPr>
          <p:cNvSpPr/>
          <p:nvPr/>
        </p:nvSpPr>
        <p:spPr>
          <a:xfrm>
            <a:off x="6259129" y="1550366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28" name="Isosceles Triangle 27">
            <a:extLst>
              <a:ext uri="{FF2B5EF4-FFF2-40B4-BE49-F238E27FC236}">
                <a16:creationId xmlns:a16="http://schemas.microsoft.com/office/drawing/2014/main" id="{D72A1961-15CB-45A4-B232-AB18E1805FEA}"/>
              </a:ext>
            </a:extLst>
          </p:cNvPr>
          <p:cNvSpPr/>
          <p:nvPr/>
        </p:nvSpPr>
        <p:spPr>
          <a:xfrm>
            <a:off x="9119953" y="2288484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37F72956-5BF2-4288-8D84-906F6A711B13}"/>
              </a:ext>
            </a:extLst>
          </p:cNvPr>
          <p:cNvSpPr/>
          <p:nvPr/>
        </p:nvSpPr>
        <p:spPr>
          <a:xfrm>
            <a:off x="11866173" y="2127723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D0483C3-C503-4E4A-BA96-7FB79C1AB808}"/>
              </a:ext>
            </a:extLst>
          </p:cNvPr>
          <p:cNvSpPr txBox="1"/>
          <p:nvPr/>
        </p:nvSpPr>
        <p:spPr>
          <a:xfrm>
            <a:off x="2860353" y="3063590"/>
            <a:ext cx="1663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Develop QR Code to gather ideas and suggestions</a:t>
            </a:r>
          </a:p>
        </p:txBody>
      </p: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B45D2DC7-C41F-46DF-B489-D6F87D023D2A}"/>
              </a:ext>
            </a:extLst>
          </p:cNvPr>
          <p:cNvSpPr/>
          <p:nvPr/>
        </p:nvSpPr>
        <p:spPr>
          <a:xfrm>
            <a:off x="4106778" y="3233765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3A10D6D-C7EB-45BE-8FBC-BB6656F14438}"/>
              </a:ext>
            </a:extLst>
          </p:cNvPr>
          <p:cNvSpPr txBox="1"/>
          <p:nvPr/>
        </p:nvSpPr>
        <p:spPr>
          <a:xfrm>
            <a:off x="5406464" y="2502040"/>
            <a:ext cx="128389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Propose two process improvement initiativ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E605D6D-1C48-46F0-B2A4-3B925DCB6622}"/>
              </a:ext>
            </a:extLst>
          </p:cNvPr>
          <p:cNvSpPr txBox="1"/>
          <p:nvPr/>
        </p:nvSpPr>
        <p:spPr>
          <a:xfrm>
            <a:off x="3454088" y="2564743"/>
            <a:ext cx="1719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Host Workshop on Customer Journey process improvement</a:t>
            </a:r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846E7F0D-4BB2-4A97-853F-1AB4F0991A3E}"/>
              </a:ext>
            </a:extLst>
          </p:cNvPr>
          <p:cNvSpPr/>
          <p:nvPr/>
        </p:nvSpPr>
        <p:spPr>
          <a:xfrm>
            <a:off x="3388929" y="2655699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66CC25C3-DC76-45CE-A574-D338C6D8C898}"/>
              </a:ext>
            </a:extLst>
          </p:cNvPr>
          <p:cNvSpPr/>
          <p:nvPr/>
        </p:nvSpPr>
        <p:spPr>
          <a:xfrm>
            <a:off x="5335756" y="2613166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E49EAF37-E38C-4207-BF29-560C3248C27F}"/>
              </a:ext>
            </a:extLst>
          </p:cNvPr>
          <p:cNvSpPr/>
          <p:nvPr/>
        </p:nvSpPr>
        <p:spPr>
          <a:xfrm>
            <a:off x="5927050" y="4241659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63C1401-987B-4131-8357-08E3F8E173B5}"/>
              </a:ext>
            </a:extLst>
          </p:cNvPr>
          <p:cNvSpPr txBox="1"/>
          <p:nvPr/>
        </p:nvSpPr>
        <p:spPr>
          <a:xfrm>
            <a:off x="6057368" y="4136307"/>
            <a:ext cx="2382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Submit nomination to HRBP for quarterly rewards &amp; recognition program</a:t>
            </a:r>
          </a:p>
        </p:txBody>
      </p:sp>
      <p:sp>
        <p:nvSpPr>
          <p:cNvPr id="43" name="Isosceles Triangle 42">
            <a:extLst>
              <a:ext uri="{FF2B5EF4-FFF2-40B4-BE49-F238E27FC236}">
                <a16:creationId xmlns:a16="http://schemas.microsoft.com/office/drawing/2014/main" id="{9C13CEFA-1129-4360-BDD1-6FC20BB6C3BA}"/>
              </a:ext>
            </a:extLst>
          </p:cNvPr>
          <p:cNvSpPr/>
          <p:nvPr/>
        </p:nvSpPr>
        <p:spPr>
          <a:xfrm>
            <a:off x="8825288" y="4254168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45" name="Isosceles Triangle 44">
            <a:extLst>
              <a:ext uri="{FF2B5EF4-FFF2-40B4-BE49-F238E27FC236}">
                <a16:creationId xmlns:a16="http://schemas.microsoft.com/office/drawing/2014/main" id="{9E65066B-306A-4CBD-8CE2-B5A37CAB0D7A}"/>
              </a:ext>
            </a:extLst>
          </p:cNvPr>
          <p:cNvSpPr/>
          <p:nvPr/>
        </p:nvSpPr>
        <p:spPr>
          <a:xfrm>
            <a:off x="11531256" y="3541208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6597A60-08C7-4A40-8826-D6538ADDF713}"/>
              </a:ext>
            </a:extLst>
          </p:cNvPr>
          <p:cNvSpPr txBox="1"/>
          <p:nvPr/>
        </p:nvSpPr>
        <p:spPr>
          <a:xfrm>
            <a:off x="7000401" y="2501652"/>
            <a:ext cx="150782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Implementation of process improvement initiatives</a:t>
            </a:r>
          </a:p>
        </p:txBody>
      </p:sp>
      <p:sp>
        <p:nvSpPr>
          <p:cNvPr id="60" name="Isosceles Triangle 59">
            <a:extLst>
              <a:ext uri="{FF2B5EF4-FFF2-40B4-BE49-F238E27FC236}">
                <a16:creationId xmlns:a16="http://schemas.microsoft.com/office/drawing/2014/main" id="{E258AFE8-D4D2-4EFB-BC0F-20A8E41AE8B9}"/>
              </a:ext>
            </a:extLst>
          </p:cNvPr>
          <p:cNvSpPr/>
          <p:nvPr/>
        </p:nvSpPr>
        <p:spPr>
          <a:xfrm>
            <a:off x="6940845" y="2612035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7F7C5FE6-D4EC-449B-9FB5-D39B480D0434}"/>
              </a:ext>
            </a:extLst>
          </p:cNvPr>
          <p:cNvSpPr txBox="1"/>
          <p:nvPr/>
        </p:nvSpPr>
        <p:spPr>
          <a:xfrm>
            <a:off x="7305227" y="1701548"/>
            <a:ext cx="11342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Release of pulse survey result</a:t>
            </a:r>
          </a:p>
        </p:txBody>
      </p:sp>
      <p:sp>
        <p:nvSpPr>
          <p:cNvPr id="62" name="Isosceles Triangle 61">
            <a:extLst>
              <a:ext uri="{FF2B5EF4-FFF2-40B4-BE49-F238E27FC236}">
                <a16:creationId xmlns:a16="http://schemas.microsoft.com/office/drawing/2014/main" id="{1166F428-7A71-4DFE-946A-C1FABB6EB244}"/>
              </a:ext>
            </a:extLst>
          </p:cNvPr>
          <p:cNvSpPr/>
          <p:nvPr/>
        </p:nvSpPr>
        <p:spPr>
          <a:xfrm>
            <a:off x="7228298" y="1783559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6A7D331-A931-44F6-97CB-7C4CA9011A6A}"/>
              </a:ext>
            </a:extLst>
          </p:cNvPr>
          <p:cNvSpPr/>
          <p:nvPr/>
        </p:nvSpPr>
        <p:spPr>
          <a:xfrm>
            <a:off x="33454" y="5507807"/>
            <a:ext cx="12061682" cy="100158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BC3CF85-B91F-4278-B487-657FE8445A79}"/>
              </a:ext>
            </a:extLst>
          </p:cNvPr>
          <p:cNvGrpSpPr/>
          <p:nvPr/>
        </p:nvGrpSpPr>
        <p:grpSpPr>
          <a:xfrm>
            <a:off x="2608669" y="1295400"/>
            <a:ext cx="630301" cy="4492083"/>
            <a:chOff x="1908577" y="1149687"/>
            <a:chExt cx="630312" cy="5461830"/>
          </a:xfrm>
        </p:grpSpPr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B8BC4A12-4525-48B7-82B7-A859959DAD05}"/>
                </a:ext>
              </a:extLst>
            </p:cNvPr>
            <p:cNvCxnSpPr>
              <a:cxnSpLocks/>
              <a:endCxn id="11" idx="0"/>
            </p:cNvCxnSpPr>
            <p:nvPr userDrawn="1"/>
          </p:nvCxnSpPr>
          <p:spPr>
            <a:xfrm>
              <a:off x="2223734" y="1149687"/>
              <a:ext cx="0" cy="5270056"/>
            </a:xfrm>
            <a:prstGeom prst="straightConnector1">
              <a:avLst/>
            </a:prstGeom>
            <a:ln w="1905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C6EF6DE-ECAE-489A-855D-D4DD99187D11}"/>
                </a:ext>
              </a:extLst>
            </p:cNvPr>
            <p:cNvSpPr txBox="1"/>
            <p:nvPr userDrawn="1"/>
          </p:nvSpPr>
          <p:spPr>
            <a:xfrm>
              <a:off x="1908577" y="6419743"/>
              <a:ext cx="630312" cy="191774"/>
            </a:xfrm>
            <a:prstGeom prst="rect">
              <a:avLst/>
            </a:prstGeom>
            <a:noFill/>
            <a:ln w="19050">
              <a:solidFill>
                <a:srgbClr val="C00000"/>
              </a:solidFill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view date</a:t>
              </a:r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1A2224F6-B55E-4936-8200-4447079DF893}"/>
              </a:ext>
            </a:extLst>
          </p:cNvPr>
          <p:cNvSpPr txBox="1"/>
          <p:nvPr/>
        </p:nvSpPr>
        <p:spPr>
          <a:xfrm>
            <a:off x="3531407" y="3493881"/>
            <a:ext cx="1215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Propose reward &amp; recognition program</a:t>
            </a:r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id="{0875D473-A2BF-437C-9A0E-22A900013C6C}"/>
              </a:ext>
            </a:extLst>
          </p:cNvPr>
          <p:cNvSpPr/>
          <p:nvPr/>
        </p:nvSpPr>
        <p:spPr>
          <a:xfrm>
            <a:off x="3446505" y="3595460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6FF154D-9AF4-405A-BE82-78B390A884BC}"/>
              </a:ext>
            </a:extLst>
          </p:cNvPr>
          <p:cNvSpPr txBox="1"/>
          <p:nvPr/>
        </p:nvSpPr>
        <p:spPr>
          <a:xfrm>
            <a:off x="3992569" y="3873965"/>
            <a:ext cx="15593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Obtain approval on reward &amp; recognition program</a:t>
            </a:r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id="{03FA4707-6156-4143-8C47-AF9B8E5485B1}"/>
              </a:ext>
            </a:extLst>
          </p:cNvPr>
          <p:cNvSpPr/>
          <p:nvPr/>
        </p:nvSpPr>
        <p:spPr>
          <a:xfrm>
            <a:off x="3936243" y="3966019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C1AB61F-0873-4890-9408-3D594072EFF2}"/>
              </a:ext>
            </a:extLst>
          </p:cNvPr>
          <p:cNvSpPr txBox="1"/>
          <p:nvPr/>
        </p:nvSpPr>
        <p:spPr>
          <a:xfrm>
            <a:off x="8911418" y="4136307"/>
            <a:ext cx="2382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Submit nomination to HRBP for quarterly rewards &amp; recognition program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C0FD9E61-58AA-46E4-828A-541B12D0EB77}"/>
              </a:ext>
            </a:extLst>
          </p:cNvPr>
          <p:cNvSpPr txBox="1"/>
          <p:nvPr/>
        </p:nvSpPr>
        <p:spPr>
          <a:xfrm>
            <a:off x="9835164" y="3679512"/>
            <a:ext cx="2382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Submit nomination to HRBP for quarterly rewards &amp; recognition progra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7C12FD7-BA14-4587-ACFC-EE7ACB052D07}"/>
              </a:ext>
            </a:extLst>
          </p:cNvPr>
          <p:cNvSpPr/>
          <p:nvPr/>
        </p:nvSpPr>
        <p:spPr>
          <a:xfrm>
            <a:off x="3519246" y="4808723"/>
            <a:ext cx="8477245" cy="207112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Identify top performers and successors for all key roles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53B9D40A-7B48-4F87-856B-C50387B502AB}"/>
              </a:ext>
            </a:extLst>
          </p:cNvPr>
          <p:cNvSpPr/>
          <p:nvPr/>
        </p:nvSpPr>
        <p:spPr>
          <a:xfrm>
            <a:off x="3519284" y="5180159"/>
            <a:ext cx="8477245" cy="207112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Post all open vacancies on notice board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9A52714-7CEB-469F-91E2-0E5552B4A82A}"/>
              </a:ext>
            </a:extLst>
          </p:cNvPr>
          <p:cNvSpPr txBox="1"/>
          <p:nvPr/>
        </p:nvSpPr>
        <p:spPr>
          <a:xfrm>
            <a:off x="4781190" y="3129193"/>
            <a:ext cx="1515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Install QR Code in all locations</a:t>
            </a:r>
          </a:p>
        </p:txBody>
      </p:sp>
      <p:sp>
        <p:nvSpPr>
          <p:cNvPr id="51" name="Isosceles Triangle 50">
            <a:extLst>
              <a:ext uri="{FF2B5EF4-FFF2-40B4-BE49-F238E27FC236}">
                <a16:creationId xmlns:a16="http://schemas.microsoft.com/office/drawing/2014/main" id="{1901857F-9ECC-4AD4-BC3D-E89B5E33A96A}"/>
              </a:ext>
            </a:extLst>
          </p:cNvPr>
          <p:cNvSpPr/>
          <p:nvPr/>
        </p:nvSpPr>
        <p:spPr>
          <a:xfrm>
            <a:off x="4654931" y="3218801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25430B5-B03F-44E7-A56C-7FAF42014DB4}"/>
              </a:ext>
            </a:extLst>
          </p:cNvPr>
          <p:cNvSpPr txBox="1"/>
          <p:nvPr/>
        </p:nvSpPr>
        <p:spPr>
          <a:xfrm>
            <a:off x="6139954" y="3257028"/>
            <a:ext cx="151547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Idea feasibility study</a:t>
            </a:r>
          </a:p>
        </p:txBody>
      </p:sp>
      <p:sp>
        <p:nvSpPr>
          <p:cNvPr id="53" name="Isosceles Triangle 52">
            <a:extLst>
              <a:ext uri="{FF2B5EF4-FFF2-40B4-BE49-F238E27FC236}">
                <a16:creationId xmlns:a16="http://schemas.microsoft.com/office/drawing/2014/main" id="{94A8612B-05DB-4729-91FD-E48B56C3D872}"/>
              </a:ext>
            </a:extLst>
          </p:cNvPr>
          <p:cNvSpPr/>
          <p:nvPr/>
        </p:nvSpPr>
        <p:spPr>
          <a:xfrm>
            <a:off x="6710719" y="3118347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54" name="Isosceles Triangle 53">
            <a:extLst>
              <a:ext uri="{FF2B5EF4-FFF2-40B4-BE49-F238E27FC236}">
                <a16:creationId xmlns:a16="http://schemas.microsoft.com/office/drawing/2014/main" id="{45156243-9950-46A0-9148-448C671FDF60}"/>
              </a:ext>
            </a:extLst>
          </p:cNvPr>
          <p:cNvSpPr/>
          <p:nvPr/>
        </p:nvSpPr>
        <p:spPr>
          <a:xfrm>
            <a:off x="6166343" y="3114298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DB4E283-9B74-4676-B511-9EB61DD4DD57}"/>
              </a:ext>
            </a:extLst>
          </p:cNvPr>
          <p:cNvCxnSpPr>
            <a:cxnSpLocks/>
            <a:stCxn id="54" idx="5"/>
            <a:endCxn id="53" idx="1"/>
          </p:cNvCxnSpPr>
          <p:nvPr/>
        </p:nvCxnSpPr>
        <p:spPr>
          <a:xfrm>
            <a:off x="6264082" y="3193394"/>
            <a:ext cx="479217" cy="4049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696627C8-3412-4A21-A0B3-711C1276D440}"/>
              </a:ext>
            </a:extLst>
          </p:cNvPr>
          <p:cNvSpPr txBox="1"/>
          <p:nvPr/>
        </p:nvSpPr>
        <p:spPr>
          <a:xfrm>
            <a:off x="7507881" y="3192674"/>
            <a:ext cx="151547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Idea Implementation</a:t>
            </a:r>
          </a:p>
        </p:txBody>
      </p:sp>
      <p:sp>
        <p:nvSpPr>
          <p:cNvPr id="64" name="Isosceles Triangle 63">
            <a:extLst>
              <a:ext uri="{FF2B5EF4-FFF2-40B4-BE49-F238E27FC236}">
                <a16:creationId xmlns:a16="http://schemas.microsoft.com/office/drawing/2014/main" id="{EEC8922D-0FB4-4FD8-A88F-FDE6F909F1A1}"/>
              </a:ext>
            </a:extLst>
          </p:cNvPr>
          <p:cNvSpPr/>
          <p:nvPr/>
        </p:nvSpPr>
        <p:spPr>
          <a:xfrm>
            <a:off x="7442722" y="3192674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D995A119-F56C-4925-A7C6-2782A7996B32}"/>
              </a:ext>
            </a:extLst>
          </p:cNvPr>
          <p:cNvSpPr txBox="1"/>
          <p:nvPr/>
        </p:nvSpPr>
        <p:spPr>
          <a:xfrm>
            <a:off x="9003306" y="3143534"/>
            <a:ext cx="1515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Feedback gathering &amp; improvement</a:t>
            </a:r>
          </a:p>
        </p:txBody>
      </p:sp>
      <p:sp>
        <p:nvSpPr>
          <p:cNvPr id="73" name="Isosceles Triangle 72">
            <a:extLst>
              <a:ext uri="{FF2B5EF4-FFF2-40B4-BE49-F238E27FC236}">
                <a16:creationId xmlns:a16="http://schemas.microsoft.com/office/drawing/2014/main" id="{20DDE283-51BB-46A0-B5AB-0110694CE474}"/>
              </a:ext>
            </a:extLst>
          </p:cNvPr>
          <p:cNvSpPr/>
          <p:nvPr/>
        </p:nvSpPr>
        <p:spPr>
          <a:xfrm>
            <a:off x="8938147" y="3143534"/>
            <a:ext cx="130318" cy="158192"/>
          </a:xfrm>
          <a:prstGeom prst="triangle">
            <a:avLst/>
          </a:prstGeom>
          <a:solidFill>
            <a:srgbClr val="0077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0801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6C32FF6-FE5F-4FFE-9EAD-5E65546729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6C32FF6-FE5F-4FFE-9EAD-5E6554672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7DD5FF-877F-406E-8A66-22D2675074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ction Plan - Follow-up and Progress Review</a:t>
            </a:r>
            <a:br>
              <a:rPr lang="en-US" dirty="0"/>
            </a:br>
            <a:r>
              <a:rPr lang="en-US" sz="1600" dirty="0">
                <a:solidFill>
                  <a:srgbClr val="FF0000"/>
                </a:solidFill>
              </a:rPr>
              <a:t>Exampl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A4EEBD-C734-472B-8A29-62779FEBDA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5550" y="1263311"/>
            <a:ext cx="5802350" cy="3295587"/>
          </a:xfrm>
        </p:spPr>
        <p:txBody>
          <a:bodyPr>
            <a:normAutofit/>
          </a:bodyPr>
          <a:lstStyle/>
          <a:p>
            <a:pPr marL="0" lvl="1" indent="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84138" algn="l"/>
              </a:tabLst>
              <a:defRPr/>
            </a:pPr>
            <a:r>
              <a:rPr lang="en-US" sz="1100" b="1" kern="1200" dirty="0">
                <a:solidFill>
                  <a:srgbClr val="000000"/>
                </a:solidFill>
                <a:cs typeface="Arial" panose="020B0604020202020204" pitchFamily="34" charset="0"/>
              </a:rPr>
              <a:t>Our Dialogue</a:t>
            </a:r>
          </a:p>
          <a:p>
            <a:pPr marL="171450" lvl="1" indent="-17145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84138" algn="l"/>
              </a:tabLst>
              <a:defRPr/>
            </a:pPr>
            <a:r>
              <a:rPr lang="en-US" sz="1100" kern="1200" dirty="0">
                <a:solidFill>
                  <a:srgbClr val="000000"/>
                </a:solidFill>
                <a:cs typeface="Arial" panose="020B0604020202020204" pitchFamily="34" charset="0"/>
              </a:rPr>
              <a:t>Kicked-off skip level meeting on 12</a:t>
            </a:r>
            <a:r>
              <a:rPr lang="en-US" sz="1100" kern="1200" baseline="30000" dirty="0">
                <a:solidFill>
                  <a:srgbClr val="000000"/>
                </a:solidFill>
                <a:cs typeface="Arial" panose="020B0604020202020204" pitchFamily="34" charset="0"/>
              </a:rPr>
              <a:t>th</a:t>
            </a:r>
            <a:r>
              <a:rPr lang="en-US" sz="1100" kern="1200" dirty="0">
                <a:solidFill>
                  <a:srgbClr val="000000"/>
                </a:solidFill>
                <a:cs typeface="Arial" panose="020B0604020202020204" pitchFamily="34" charset="0"/>
              </a:rPr>
              <a:t> April</a:t>
            </a:r>
          </a:p>
          <a:p>
            <a:pPr marL="268874" lvl="2" indent="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84138" algn="l"/>
              </a:tabLst>
              <a:defRPr/>
            </a:pPr>
            <a:r>
              <a:rPr lang="en-US" sz="1100" kern="1200" dirty="0">
                <a:solidFill>
                  <a:srgbClr val="000000"/>
                </a:solidFill>
                <a:cs typeface="Arial" panose="020B0604020202020204" pitchFamily="34" charset="0"/>
              </a:rPr>
              <a:t>MD – 2 meetings scheduled to finish by 30</a:t>
            </a:r>
            <a:r>
              <a:rPr lang="en-US" sz="1100" kern="1200" baseline="30000" dirty="0">
                <a:solidFill>
                  <a:srgbClr val="000000"/>
                </a:solidFill>
                <a:cs typeface="Arial" panose="020B0604020202020204" pitchFamily="34" charset="0"/>
              </a:rPr>
              <a:t>th</a:t>
            </a:r>
            <a:r>
              <a:rPr lang="en-US" sz="1100" kern="1200" dirty="0">
                <a:solidFill>
                  <a:srgbClr val="000000"/>
                </a:solidFill>
                <a:cs typeface="Arial" panose="020B0604020202020204" pitchFamily="34" charset="0"/>
              </a:rPr>
              <a:t> April</a:t>
            </a:r>
          </a:p>
          <a:p>
            <a:pPr marL="268874" lvl="2" indent="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84138" algn="l"/>
              </a:tabLst>
              <a:defRPr/>
            </a:pPr>
            <a:r>
              <a:rPr lang="en-US" sz="1100" kern="1200" dirty="0">
                <a:solidFill>
                  <a:srgbClr val="000000"/>
                </a:solidFill>
                <a:cs typeface="Arial" panose="020B0604020202020204" pitchFamily="34" charset="0"/>
              </a:rPr>
              <a:t>MD – 3 meetings led by HOD scheduled to finish by 5</a:t>
            </a:r>
            <a:r>
              <a:rPr lang="en-US" sz="1100" kern="1200" baseline="30000" dirty="0">
                <a:solidFill>
                  <a:srgbClr val="000000"/>
                </a:solidFill>
                <a:cs typeface="Arial" panose="020B0604020202020204" pitchFamily="34" charset="0"/>
              </a:rPr>
              <a:t>th</a:t>
            </a:r>
            <a:r>
              <a:rPr lang="en-US" sz="1100" kern="1200" dirty="0">
                <a:solidFill>
                  <a:srgbClr val="000000"/>
                </a:solidFill>
                <a:cs typeface="Arial" panose="020B0604020202020204" pitchFamily="34" charset="0"/>
              </a:rPr>
              <a:t> May</a:t>
            </a:r>
          </a:p>
          <a:p>
            <a:pPr marL="171450" lvl="1" indent="-17145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84138" algn="l"/>
              </a:tabLst>
              <a:defRPr/>
            </a:pPr>
            <a:r>
              <a:rPr lang="en-US" sz="1100" kern="1200" dirty="0">
                <a:solidFill>
                  <a:srgbClr val="000000"/>
                </a:solidFill>
                <a:cs typeface="Arial" panose="020B0604020202020204" pitchFamily="34" charset="0"/>
              </a:rPr>
              <a:t>First town hall kicked-off and established a feedback loop for associates to share views and opinions on topics discussed in the townhall</a:t>
            </a:r>
          </a:p>
          <a:p>
            <a:pPr marL="171450" lvl="1" indent="-17145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84138" algn="l"/>
              </a:tabLst>
              <a:defRPr/>
            </a:pPr>
            <a:endParaRPr lang="en-US" sz="1100" kern="12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0" lvl="1" indent="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84138" algn="l"/>
              </a:tabLst>
              <a:defRPr/>
            </a:pPr>
            <a:r>
              <a:rPr lang="en-US" sz="1100" b="1" kern="1200" dirty="0">
                <a:solidFill>
                  <a:srgbClr val="000000"/>
                </a:solidFill>
                <a:cs typeface="Arial" panose="020B0604020202020204" pitchFamily="34" charset="0"/>
              </a:rPr>
              <a:t>Our Customers</a:t>
            </a:r>
          </a:p>
          <a:p>
            <a:pPr marL="171450" lvl="1" indent="-17145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84138" algn="l"/>
              </a:tabLst>
              <a:defRPr/>
            </a:pPr>
            <a:r>
              <a:rPr lang="en-US" sz="1100" kern="1200" dirty="0">
                <a:solidFill>
                  <a:srgbClr val="000000"/>
                </a:solidFill>
                <a:cs typeface="Arial" panose="020B0604020202020204" pitchFamily="34" charset="0"/>
              </a:rPr>
              <a:t>Development of QR code for ‘ideas &amp; suggestions’ complete.</a:t>
            </a:r>
          </a:p>
          <a:p>
            <a:pPr marL="171450" lvl="1" indent="-17145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84138" algn="l"/>
              </a:tabLst>
              <a:defRPr/>
            </a:pPr>
            <a:r>
              <a:rPr lang="en-US" sz="1100" kern="1200" dirty="0">
                <a:solidFill>
                  <a:srgbClr val="000000"/>
                </a:solidFill>
                <a:cs typeface="Arial" panose="020B0604020202020204" pitchFamily="34" charset="0"/>
              </a:rPr>
              <a:t>Structure and governance of process improvement workshops have been approved by the Steer-co along with the calendar of the workshops in the various locations</a:t>
            </a:r>
          </a:p>
          <a:p>
            <a:pPr marL="171450" lvl="1" indent="-17145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84138" algn="l"/>
              </a:tabLst>
              <a:defRPr/>
            </a:pPr>
            <a:endParaRPr lang="en-US" sz="1100" kern="12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0" lvl="1" indent="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84138" algn="l"/>
              </a:tabLst>
              <a:defRPr/>
            </a:pPr>
            <a:r>
              <a:rPr lang="en-US" sz="1100" b="1" kern="1200" dirty="0">
                <a:solidFill>
                  <a:srgbClr val="000000"/>
                </a:solidFill>
                <a:cs typeface="Arial" panose="020B0604020202020204" pitchFamily="34" charset="0"/>
              </a:rPr>
              <a:t>My Job</a:t>
            </a:r>
          </a:p>
          <a:p>
            <a:pPr marL="171450" lvl="1" indent="-17145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84138" algn="l"/>
              </a:tabLst>
              <a:defRPr/>
            </a:pPr>
            <a:r>
              <a:rPr lang="en-US" sz="1100" kern="1200" dirty="0">
                <a:solidFill>
                  <a:srgbClr val="000000"/>
                </a:solidFill>
                <a:cs typeface="Arial" panose="020B0604020202020204" pitchFamily="34" charset="0"/>
              </a:rPr>
              <a:t>Proposal for ‘Al-Futtaim Values awards’ complete and approved by Steer-co</a:t>
            </a:r>
          </a:p>
          <a:p>
            <a:pPr marL="171450" lvl="1" indent="-17145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84138" algn="l"/>
              </a:tabLst>
              <a:defRPr/>
            </a:pPr>
            <a:endParaRPr lang="en-US" sz="1100" kern="12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71450" lvl="1" indent="-17145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84138" algn="l"/>
              </a:tabLst>
              <a:defRPr/>
            </a:pPr>
            <a:endParaRPr lang="en-US" sz="1100" kern="12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0" lvl="1" indent="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84138" algn="l"/>
              </a:tabLst>
              <a:defRPr/>
            </a:pPr>
            <a:r>
              <a:rPr lang="en-US" sz="1100" b="1" kern="1200" dirty="0">
                <a:solidFill>
                  <a:srgbClr val="000000"/>
                </a:solidFill>
                <a:cs typeface="Arial" panose="020B0604020202020204" pitchFamily="34" charset="0"/>
              </a:rPr>
              <a:t>My Growth</a:t>
            </a:r>
          </a:p>
          <a:p>
            <a:pPr marL="171450" lvl="1" indent="-17145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84138" algn="l"/>
              </a:tabLst>
              <a:defRPr/>
            </a:pPr>
            <a:r>
              <a:rPr lang="en-US" sz="1100" kern="1200" dirty="0">
                <a:solidFill>
                  <a:srgbClr val="000000"/>
                </a:solidFill>
                <a:cs typeface="Arial" panose="020B0604020202020204" pitchFamily="34" charset="0"/>
              </a:rPr>
              <a:t>Completed the Talent Reviews and identified successors / top performers for key ro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0B5E8E3-6673-4440-B746-90DDA1A788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34100" y="1282362"/>
            <a:ext cx="5802350" cy="3295587"/>
          </a:xfrm>
        </p:spPr>
        <p:txBody>
          <a:bodyPr>
            <a:normAutofit lnSpcReduction="10000"/>
          </a:bodyPr>
          <a:lstStyle/>
          <a:p>
            <a:pPr marL="0" lvl="1" indent="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84138" algn="l"/>
              </a:tabLst>
              <a:defRPr/>
            </a:pPr>
            <a:r>
              <a:rPr lang="en-US" sz="1100" b="1" kern="1200" dirty="0">
                <a:solidFill>
                  <a:srgbClr val="000000"/>
                </a:solidFill>
                <a:cs typeface="Arial" panose="020B0604020202020204" pitchFamily="34" charset="0"/>
              </a:rPr>
              <a:t>Our Dialogue</a:t>
            </a:r>
          </a:p>
          <a:p>
            <a:pPr marL="171450" lvl="1" indent="-17145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84138" algn="l"/>
              </a:tabLst>
              <a:defRPr/>
            </a:pPr>
            <a:r>
              <a:rPr lang="en-US" sz="1100" kern="1200" dirty="0">
                <a:solidFill>
                  <a:srgbClr val="000000"/>
                </a:solidFill>
                <a:cs typeface="Arial" panose="020B0604020202020204" pitchFamily="34" charset="0"/>
              </a:rPr>
              <a:t>Agree with the respective Head of Department and HR Business Partner on key action points related to people development and movements that have come out of the skip level meetings</a:t>
            </a:r>
          </a:p>
          <a:p>
            <a:pPr marL="171450" lvl="1" indent="-17145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84138" algn="l"/>
              </a:tabLst>
              <a:defRPr/>
            </a:pPr>
            <a:r>
              <a:rPr lang="en-US" sz="1100" kern="1200" dirty="0">
                <a:solidFill>
                  <a:srgbClr val="000000"/>
                </a:solidFill>
                <a:cs typeface="Arial" panose="020B0604020202020204" pitchFamily="34" charset="0"/>
              </a:rPr>
              <a:t>Publish the townhall Q&amp;A session including answers to the questions that were not covered in the townhall due to lack of time </a:t>
            </a:r>
          </a:p>
          <a:p>
            <a:pPr marL="0" lvl="1" indent="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84138" algn="l"/>
              </a:tabLst>
              <a:defRPr/>
            </a:pPr>
            <a:endParaRPr lang="en-US" sz="1100" kern="12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0" lvl="1" indent="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84138" algn="l"/>
              </a:tabLst>
              <a:defRPr/>
            </a:pPr>
            <a:endParaRPr lang="en-US" sz="1100" kern="12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0" lvl="1" indent="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84138" algn="l"/>
              </a:tabLst>
              <a:defRPr/>
            </a:pPr>
            <a:r>
              <a:rPr lang="en-US" sz="1100" b="1" kern="1200" dirty="0">
                <a:solidFill>
                  <a:srgbClr val="000000"/>
                </a:solidFill>
                <a:cs typeface="Arial" panose="020B0604020202020204" pitchFamily="34" charset="0"/>
              </a:rPr>
              <a:t>Our Customers</a:t>
            </a:r>
          </a:p>
          <a:p>
            <a:pPr marL="171450" lvl="1" indent="-17145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84138" algn="l"/>
              </a:tabLst>
              <a:defRPr/>
            </a:pPr>
            <a:r>
              <a:rPr lang="en-US" sz="1100" kern="1200" dirty="0">
                <a:solidFill>
                  <a:srgbClr val="000000"/>
                </a:solidFill>
                <a:cs typeface="Arial" panose="020B0604020202020204" pitchFamily="34" charset="0"/>
              </a:rPr>
              <a:t>Implementation and roll out of the QR code in all locations. This should be complete by 08</a:t>
            </a:r>
            <a:r>
              <a:rPr lang="en-US" sz="1100" kern="1200" baseline="30000" dirty="0">
                <a:solidFill>
                  <a:srgbClr val="000000"/>
                </a:solidFill>
                <a:cs typeface="Arial" panose="020B0604020202020204" pitchFamily="34" charset="0"/>
              </a:rPr>
              <a:t>th</a:t>
            </a:r>
            <a:r>
              <a:rPr lang="en-US" sz="1100" kern="1200" dirty="0">
                <a:solidFill>
                  <a:srgbClr val="000000"/>
                </a:solidFill>
                <a:cs typeface="Arial" panose="020B0604020202020204" pitchFamily="34" charset="0"/>
              </a:rPr>
              <a:t> May 2022</a:t>
            </a:r>
          </a:p>
          <a:p>
            <a:pPr marL="171450" lvl="1" indent="-17145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84138" algn="l"/>
              </a:tabLst>
              <a:defRPr/>
            </a:pPr>
            <a:r>
              <a:rPr lang="en-US" sz="1100" kern="1200" dirty="0">
                <a:solidFill>
                  <a:srgbClr val="000000"/>
                </a:solidFill>
                <a:cs typeface="Arial" panose="020B0604020202020204" pitchFamily="34" charset="0"/>
              </a:rPr>
              <a:t>Initiation of the process improvement workshops with a completion date of 5</a:t>
            </a:r>
            <a:r>
              <a:rPr lang="en-US" sz="1100" kern="1200" baseline="30000" dirty="0">
                <a:solidFill>
                  <a:srgbClr val="000000"/>
                </a:solidFill>
                <a:cs typeface="Arial" panose="020B0604020202020204" pitchFamily="34" charset="0"/>
              </a:rPr>
              <a:t>th</a:t>
            </a:r>
            <a:r>
              <a:rPr lang="en-US" sz="1100" kern="1200" dirty="0">
                <a:solidFill>
                  <a:srgbClr val="000000"/>
                </a:solidFill>
                <a:cs typeface="Arial" panose="020B0604020202020204" pitchFamily="34" charset="0"/>
              </a:rPr>
              <a:t> June 2022</a:t>
            </a:r>
          </a:p>
          <a:p>
            <a:pPr marL="171450" lvl="1" indent="-17145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84138" algn="l"/>
              </a:tabLst>
              <a:defRPr/>
            </a:pPr>
            <a:endParaRPr lang="en-US" sz="1100" kern="12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0" lvl="1" indent="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84138" algn="l"/>
              </a:tabLst>
              <a:defRPr/>
            </a:pPr>
            <a:r>
              <a:rPr lang="en-US" sz="1100" b="1" kern="1200" dirty="0">
                <a:solidFill>
                  <a:srgbClr val="000000"/>
                </a:solidFill>
                <a:cs typeface="Arial" panose="020B0604020202020204" pitchFamily="34" charset="0"/>
              </a:rPr>
              <a:t>My Job</a:t>
            </a:r>
          </a:p>
          <a:p>
            <a:pPr marL="171450" lvl="1" indent="-17145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84138" algn="l"/>
              </a:tabLst>
              <a:defRPr/>
            </a:pPr>
            <a:r>
              <a:rPr lang="en-US" sz="1100" kern="1200" dirty="0">
                <a:solidFill>
                  <a:srgbClr val="000000"/>
                </a:solidFill>
                <a:cs typeface="Arial" panose="020B0604020202020204" pitchFamily="34" charset="0"/>
              </a:rPr>
              <a:t>Design the communications and roll out of the Al-Futtaim Value awards including a calendar of events</a:t>
            </a:r>
          </a:p>
          <a:p>
            <a:pPr marL="171450" lvl="1" indent="-17145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84138" algn="l"/>
              </a:tabLst>
              <a:defRPr/>
            </a:pPr>
            <a:endParaRPr lang="en-US" sz="1100" kern="12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0" lvl="1" indent="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84138" algn="l"/>
              </a:tabLst>
              <a:defRPr/>
            </a:pPr>
            <a:r>
              <a:rPr lang="en-US" sz="1100" b="1" kern="1200" dirty="0">
                <a:solidFill>
                  <a:srgbClr val="000000"/>
                </a:solidFill>
                <a:cs typeface="Arial" panose="020B0604020202020204" pitchFamily="34" charset="0"/>
              </a:rPr>
              <a:t>My Growth</a:t>
            </a:r>
          </a:p>
          <a:p>
            <a:pPr marL="171450" lvl="1" indent="-17145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84138" algn="l"/>
              </a:tabLst>
              <a:defRPr/>
            </a:pPr>
            <a:r>
              <a:rPr lang="en-US" sz="1100" kern="1200" dirty="0">
                <a:solidFill>
                  <a:srgbClr val="000000"/>
                </a:solidFill>
                <a:cs typeface="Arial" panose="020B0604020202020204" pitchFamily="34" charset="0"/>
              </a:rPr>
              <a:t>Identify current roles under recruitment and mapping the talent to the roles along with arrangement of Meet and Greet session for the hiring managers.</a:t>
            </a:r>
          </a:p>
          <a:p>
            <a:pPr marL="171450" lvl="1" indent="-17145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84138" algn="l"/>
              </a:tabLst>
              <a:defRPr/>
            </a:pPr>
            <a:r>
              <a:rPr lang="en-US" sz="1100" kern="1200" dirty="0">
                <a:solidFill>
                  <a:srgbClr val="000000"/>
                </a:solidFill>
                <a:cs typeface="Arial" panose="020B0604020202020204" pitchFamily="34" charset="0"/>
              </a:rPr>
              <a:t>Review the percentage of job applications from offline associates (through notice board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09380F-10C0-4BCF-A66D-B9A73262F6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5550" y="4953869"/>
            <a:ext cx="5802350" cy="1123081"/>
          </a:xfrm>
        </p:spPr>
        <p:txBody>
          <a:bodyPr>
            <a:normAutofit/>
          </a:bodyPr>
          <a:lstStyle/>
          <a:p>
            <a:pPr marL="0" lvl="1" indent="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84138" algn="l"/>
              </a:tabLst>
              <a:defRPr/>
            </a:pPr>
            <a:r>
              <a:rPr lang="en-US" sz="1000" b="1" kern="1200" dirty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Issue: </a:t>
            </a:r>
          </a:p>
          <a:p>
            <a:pPr marL="0" lvl="1" indent="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84138" algn="l"/>
              </a:tabLst>
              <a:defRPr/>
            </a:pPr>
            <a:r>
              <a:rPr lang="en-US" sz="1000" kern="1200" dirty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45 day internal candidate release period is hindering branch performance due to lag period </a:t>
            </a:r>
          </a:p>
          <a:p>
            <a:pPr marL="0" lvl="1" indent="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84138" algn="l"/>
              </a:tabLst>
              <a:defRPr/>
            </a:pPr>
            <a:endParaRPr lang="en-US" sz="1000" kern="12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lvl="1" indent="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84138" algn="l"/>
              </a:tabLst>
              <a:defRPr/>
            </a:pPr>
            <a:r>
              <a:rPr lang="en-US" sz="1000" b="1" kern="1200" dirty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Mitigation:</a:t>
            </a:r>
          </a:p>
          <a:p>
            <a:pPr marL="0" lvl="1" indent="0" defTabSz="932962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84138" algn="l"/>
              </a:tabLst>
              <a:defRPr/>
            </a:pPr>
            <a:r>
              <a:rPr lang="en-US" sz="1000" kern="1200" dirty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Talent mapping and decision of a role under recruitment to be made while the exiting job holder is still serving notice period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23F9F4-F523-4A8E-9B9F-6694046196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34100" y="4953869"/>
            <a:ext cx="5802350" cy="1123081"/>
          </a:xfrm>
        </p:spPr>
        <p:txBody>
          <a:bodyPr>
            <a:normAutofit/>
          </a:bodyPr>
          <a:lstStyle/>
          <a:p>
            <a:pPr marL="171450" indent="-171450"/>
            <a:r>
              <a:rPr lang="en-US" sz="1000" kern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he levels of roles to be posted in the notice board (Band F &amp; above or Band G &amp; above)</a:t>
            </a:r>
          </a:p>
        </p:txBody>
      </p:sp>
    </p:spTree>
    <p:extLst>
      <p:ext uri="{BB962C8B-B14F-4D97-AF65-F5344CB8AC3E}">
        <p14:creationId xmlns:p14="http://schemas.microsoft.com/office/powerpoint/2010/main" val="9657883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CgQlc2e6V1IRxz3Agalw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SpeH3OYQ4FFtVI4y1PgQ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o1XgxFJLFsNQDdf_Ba7Q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UQHgf828t0BFlYJxolXg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MUDgO9oqcKjFXG954iTA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1DNUxweEWuIfryVsymiA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vNj6BW6jgHNKzfnb4GRg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m_rggJopdO7GAgWUxRZQ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dyIb28XvGQhUgRXOlrbw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emq1vXpdAyAwQ5LrhoT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CDvkjfQ6iGobDM3i7bZQ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SE8SPmSaZYFlrN5fBblA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uciudoI5Zp91tj9Z6UvQ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_IJay1Xo4tr.aX7kPxlg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3xCkb0SEmM5IphK_pDdg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UJqpM4cVs9JhuyBIgDFQ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s9GrWH_HiJEZml2W5WGA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OiHhXR.juL4CUmIJiTxg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5BIAlFEtPlZl0MMg3xnw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2HI8kGlJfj2C6juix.y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ZlRggk7.D2sD.NQNgWYA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4IwSyUiNv6YLemXwPnkw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sWAKJQqqWP_APx4sMhag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dtFYH2cUA9H4wuc945wQ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Yv6CZfOGTJ5YvUnZwpHw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nqNXNr.VmgMWXMbAeDQA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uF7Xu7cq4L5l7ZXwQANA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.KsE9S4PNZMAjYy525rQ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9C2FqngO1ee67LLMB7bw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bEQaIaN_nBw6GgJJQQ3g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.TQ7C4zIuuMGjZ3sE_Ng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HjIGZcrYsCCGXeyOxf1g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orRiEN__0PzkR2PI1.wg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iUYfdhStOKSImZSy4LXQ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mnrZ8vQpKPicA3hWDt9Q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2QkptewKgDBo6k1zBow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z.0mVANJjVw_vafCorrA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63LxgGIOvwDNz4ZI4jOw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qCo3EsL9Ki15SCibos.w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iilhOdleqZ5qLlxMNk_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ifykE2DT1u3.wLYIAaXQ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XcUSolyWYXau8yd2MnwA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mjvwdS5sv2dJRQCNxc2A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vz7oEWC2KMWo8omI29AA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LYUwJqoriFCOTNSIIgQg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AFb96PY5ypqrTPFYHK5g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xxyyLh.8.PAzgTmwoDSw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7Ei4El_hSISFRL31d.fQ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R7ymi5J2QSlug6a.HgZg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vNj6BW6jgHNKzfnb4GR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m_rggJopdO7GAgWUxRZQ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dyIb28XvGQhUgRXOlrbw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emq1vXpdAyAwQ5LrhoTg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CDvkjfQ6iGobDM3i7bZQ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SE8SPmSaZYFlrN5fBblA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uciudoI5Zp91tj9Z6UvQ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_IJay1Xo4tr.aX7kPxlg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3xCkb0SEmM5IphK_pDdg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UJqpM4cVs9JhuyBIgDFQ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s9GrWH_HiJEZml2W5WG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OiHhXR.juL4CUmIJiTxg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5BIAlFEtPlZl0MMg3xnw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2HI8kGlJfj2C6juix.yQ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ZlRggk7.D2sD.NQNgWYA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4IwSyUiNv6YLemXwPnkw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sWAKJQqqWP_APx4sMhag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dtFYH2cUA9H4wuc945wQ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Yv6CZfOGTJ5YvUnZwpHw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B194imlCresNFlGMON5Q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S__MDvP27wjgrWNwfBZ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e5us_Q6BIvbB1RNBJGhg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.d3NXOMMGEtSmZcG7fOQ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6eRMsJHkC1vw11MA5RtA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oyvaxPZe3SWQlOLW7.lg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1g_RjyWAkvyrPs4Pui9A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ZufCXtlU1j5J4VXAWGdA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4bqVRx7yMjCWnjqCoqrg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zzghUtnvF2ub033kz40w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Q0crAguAvqt3BtPBRluA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6q1ZnULzaCd2ss_Qm.9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DRl5V7wlfIUedVpHvc0g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EsUOdSUr5WYouk1at2GQ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WgOV8M63g8FJvEptJ_MA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s1UPKGK48e6ynBTuV7IQ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RKUaImpvnWoGk8wPk0WA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8HRlbmA89JUHNxCqkqSg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8K_2aoP_7XQbVIWGzfkw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WlstTrsYTyh5_sKFytvQ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Kb9_B8NJ8mEtnuNWkBZA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Nf7R6x2fPfJX92foMqb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AUSpXmjNg_9qpiJ6jtwQ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QIEjRmoqmp__CzvXK1ZA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_aZLpHrKf_2YTWLYdoyA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XpPiH6qhlSqNAHHOwb.A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OWeiwCD22mS_Dh61btKg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UJc_eP9zw6t1Aermiv6Q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8cBHtYLgY_BzXGCCE.Kw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9r.8MrtxvKyKMlkIEerA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h.q0eZe2ecpqFd3sQuYA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yXn6UhK_mImPpGe0yE8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W28CGBC1Re4N7SHxyY3Q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GOUWEAj2wswojh8sm.OA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7IFHFb9FhZJcBoM6Ijyw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.TQ7C4zIuuMGjZ3sE_Ng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nqNXNr.VmgMWXMbAeDQA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bEQaIaN_nBw6GgJJQQ3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RskMCfRyGgSr0tOUNxKA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9C2FqngO1ee67LLMB7bw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.KsE9S4PNZMAjYy525rQ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zYHezn5hGEgp9MvuvD_Q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JiTkFcDJcrKY69PEHgrQ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2QkptewKgDBo6k1zBow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z.0mVANJjVw_vafCorrA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vz7oEWC2KMWo8omI29AA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LYUwJqoriFCOTNSIIgQ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AFb96PY5ypqrTPFYHK5g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xxyyLh.8.PAzgTmwoDSw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7Ei4El_hSISFRL31d.fQ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R7ymi5J2QSlug6a.HgZg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HccdUCDf30Zx5hwemN.g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DHiTGyr27x3zloo9uRmQ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lZT2BNcTj3LlZY8gKXqA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wjE2R58v.WAi4bAEqCzg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fybRojQmbYQ5.vsyuHhg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yYlwyXeiQmr2FVi1E9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ZufCXtlU1j5J4VXAWGdA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4bqVRx7yMjCWnjqCoqrg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zzghUtnvF2ub033kz40w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Q0crAguAvqt3BtPBRluA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6q1ZnULzaCd2ss_Qm.9w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DRl5V7wlfIUedVpHvc0g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EsUOdSUr5WYouk1at2GQ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WgOV8M63g8FJvEptJ_MA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s1UPKGK48e6ynBTuV7IQ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RKUaImpvnWoGk8wPk0W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8HRlbmA89JUHNxCqkqSg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8K_2aoP_7XQbVIWGzfkw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WlstTrsYTyh5_sKFytvQ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Kb9_B8NJ8mEtnuNWkBZA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Nf7R6x2fPfJX92foMqbw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AUSpXmjNg_9qpiJ6jtwQ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QIEjRmoqmp__CzvXK1ZA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_aZLpHrKf_2YTWLYdoyA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XpPiH6qhlSqNAHHOwb.A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OWeiwCD22mS_Dh61btK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UJc_eP9zw6t1Aermiv6Q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8cBHtYLgY_BzXGCCE.Kw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9r.8MrtxvKyKMlkIEerA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h.q0eZe2ecpqFd3sQuYA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yXn6UhK_mImPpGe0yE8g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W28CGBC1Re4N7SHxyY3Q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GOUWEAj2wswojh8sm.OA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OFal5qHKPeQId00eFFtA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rgXblZmyYXZfAkFiKUsA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DeKLDdAN3trDT_K_x5K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kB1E7eY9.ivv7HIXIgCg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c1vfGr7y2MxUPQ6IEUw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hJAjbjQduNTwD50Wgqyg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Eu0KBms74.C9XRyC_XqA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o6wpUiclfyztjwtX6FKw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QC_q091446kl3gRKCfdw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CfMaDtmLKpixGKuQI0qg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31eCQK3mbmALUqFDHDEg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u_sAyURE12NkmaKz9HiQ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Y0maERI99HMkcPEgEOL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5BMcTp.nX_RQqm0eIeBQ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9YJlyXGvZ4CTuGzBdn7A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29V8HaEkIj0XrPmYIeBA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VOgHfjthDfZ3F5vYcexA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A5OGBE8linIafdpaoQCQ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KQIIChyz220_73Acrbmw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lDcBIwSkXYCLOFKgBY1g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uLX3L2TAfoaaOmFUtiTQ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SJ2_i2itS8dwfxw4Ad_w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UjjlAQHg12L1X_DWrVD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G8hTKgXrdXbvGr0k9xCQ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A1faSXQyBi4swnRJ9NDQ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mfF.MBL26cqVxRyeGJlQ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.TQ7C4zIuuMGjZ3sE_Ng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nqNXNr.VmgMWXMbAeDQA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Psu3xVhy7L3BZlGjXfVg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TFQuwEm74sEoU6uW0IMA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hKcLQWv1KNK6dsmqHxSA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D3d7NWqBKM6ndDJhwsYA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jMV5d1YgfBdiU3DoOaaw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gKWpfjZNC2KW4HX4tprQ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2QkptewKgDBo6k1zBow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ZFgjzpHE0CC_QrqWbUi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63LxgGIOvwDNz4ZI4jOw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qCo3EsL9Ki15SCibos.w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iilhOdleqZ5qLlxMNk_Q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ifykE2DT1u3.wLYIAaXQ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XcUSolyWYXau8yd2MnwA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mjvwdS5sv2dJRQCNxc2A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vz7oEWC2KMWo8omI29AA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LYUwJqoriFCOTNSIIgQg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AFb96PY5ypqrTPFYHK5g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LhCeWaM7Zgi9oajE0PS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k.U7v1RUheTRt7DvjXag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_wB6JNBP5MPb62gWwYcg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vNj6BW6jgHNKzfnb4GRg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m_rggJopdO7GAgWUxRZQ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dyIb28XvGQhUgRXOlrbw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emq1vXpdAyAwQ5LrhoTg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CDvkjfQ6iGobDM3i7bZQ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SE8SPmSaZYFlrN5fBblA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uciudoI5Zp91tj9Z6UvQ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_IJay1Xo4tr.aX7kPx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3xCkb0SEmM5IphK_pDdg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UJqpM4cVs9JhuyBIgDFQ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s9GrWH_HiJEZml2W5WGA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OiHhXR.juL4CUmIJiTxg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5BIAlFEtPlZl0MMg3xnw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2HI8kGlJfj2C6juix.yQ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ZlRggk7.D2sD.NQNgWYA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4IwSyUiNv6YLemXwPnkw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sWAKJQqqWP_APx4sMhag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dtFYH2cUA9H4wuc945w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Yv6CZfOGTJ5YvUnZwpHw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B194imlCresNFlGMON5Q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S__MDvP27wjgrWNwfBZg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e5us_Q6BIvbB1RNBJGhg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.d3NXOMMGEtSmZcG7fOQ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6eRMsJHkC1vw11MA5RtA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oyvaxPZe3SWQlOLW7.lg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1g_RjyWAkvyrPs4Pui9A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ZufCXtlU1j5J4VXAWGdA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4bqVRx7yMjCWnjqCoqr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zzghUtnvF2ub033kz40w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Q0crAguAvqt3BtPBRluA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6q1ZnULzaCd2ss_Qm.9w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DRl5V7wlfIUedVpHvc0g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EsUOdSUr5WYouk1at2GQ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WgOV8M63g8FJvEptJ_MA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s1UPKGK48e6ynBTuV7IQ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RKUaImpvnWoGk8wPk0WA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8HRlbmA89JUHNxCqkqSg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8K_2aoP_7XQbVIWGzfk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WlstTrsYTyh5_sKFytvQ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Kb9_B8NJ8mEtnuNWkBZA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.bN11TChN4JE7dOMSqCg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GFe8OcbacDK.u04OqOjg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e73OaHvCyJ4hbwoSgRVQ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TJ2i9p_nGP7b0cnLFbsA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XyEMP1YT6KvJpA_YaukA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nShmZYQoCkYi70QW02ww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mvpb5uMA3czffc2Zq67g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Goqhmwe6E5nBVXt0PVf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gl6VS0THeQmQWlAdWkbQ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5oijX0sqCrD36wrMryIg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Yzc9GPV.vTej5Ch6rllQ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sLhSwqyhhYPrx6RQIPzA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SnDl.YDcANZiob5cOx6Q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ztTPO6huApcb8FSGRhNg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nqNXNr.VmgMWXMbAeDQA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.KsE9S4PNZMAjYy525r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9C2FqngO1ee67LLMB7bw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bEQaIaN_nBw6GgJJQQ3g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.TQ7C4zIuuMGjZ3sE_Ng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qiNGDLkp64fohKWNHPKQ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84uE.C6uVne4SLNSG1Vg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XTqPIWLuBIEX20QT0jGw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kkxzG4SxyfhMwbZDiwvQ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2QkptewKgDBo6k1zBow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ZFgjzpHE0CC_QrqWbUiQ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vz7oEWC2KMWo8omI29AA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LYUwJqoriFCOTNSIIgQg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AFb96PY5ypqrTPFYHK5g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LhCeWaM7Zgi9oajE0PSw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k.U7v1RUheTRt7DvjXag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_wB6JNBP5MPb62gWwYcg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Rdxn2YjPFibrneahfaM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zeaEpD2px750UHmju3sg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3DJZCcprjrMv2lVpR5ZQ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lZUgsjE6gV4I4S0fXyZA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LVHumQYjZGhIRoOJaKEA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g9ICwppUnDrp6g5hT52A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ZufCXtlU1j5J4VXAWGdA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4bqVRx7yMjCWnjqCoqrg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zzghUtnvF2ub033kz40w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Q0crAguAvqt3BtPBRluA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6q1ZnULzaCd2ss_Qm.9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rZeyOpQnS_snPUxsYBww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DRl5V7wlfIUedVpHvc0g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EsUOdSUr5WYouk1at2GQ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WgOV8M63g8FJvEptJ_MA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s1UPKGK48e6ynBTuV7IQ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RKUaImpvnWoGk8wPk0WA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8HRlbmA89JUHNxCqkqSg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8K_2aoP_7XQbVIWGzfkw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WlstTrsYTyh5_sKFytvQ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Kb9_B8NJ8mEtnuNWkBZA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.bN11TChN4JE7dOMSq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GFe8OcbacDK.u04OqOjg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e73OaHvCyJ4hbwoSgRVQ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TJ2i9p_nGP7b0cnLFbsA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XyEMP1YT6KvJpA_YaukA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nShmZYQoCkYi70QW02ww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mvpb5uMA3czffc2Zq67g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Goqhmwe6E5nBVXt0PVfg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5oijX0sqCrD36wrMryIg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Yzc9GPV.vTej5Ch6rllQ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sLhSwqyhhYPrx6RQIPz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SnDl.YDcANZiob5cOx6Q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ztTPO6huApcb8FSGRhNg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rTyqSCzOkYYq7vlt4IMg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zGyAncSA6Iq11EZhR2eA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9nr_.0M29p7VaSBQ0j2A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GNjCz8eBNQZxZXIw589w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MSZEl.OQ7PaliL7ntEbQ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N0bSf9nRi3LvbvCmsvg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SAOx1b6zDq35g2ooLNSQ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DLKouE.mS.AJeDAmGEW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PhmEa7KeB6yzO0V_exLw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kREztM1Vag7E6fOOokjw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BicEj8TtcXNckCfvBKiQ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.kTSm0UgGd10sGR_p3g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YueDIHcUb2mrQVwhgkqw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gDGvjAY5UNG_57DxVfSg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aB8EQ4FlSOLbLJDIZkCg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ZYvzNCJXZw35fsfi0lA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QSrbmFxKZS0cANMnfmyw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qclpWfmIEnHYtqU44Ds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1zvAdkuqiMJDQedv6flg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nzSUyfYWSEri8iaze45Q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oEO1bElqZFI56UXAkYOw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y0rKDEQ3CnDrxLtqohg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CYoHoKSwsuAvCfFJCwfA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t2PYTCNtfFzUCK4ubnZw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C9LQwjemyAvOvYj4yRBw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EoDBKGlPsseEJyi0NTQ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Ya_xWuLbVIzpF0FSggLQ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QCnLX1.Ha05vvdo4jWOg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.TQ7C4zIuuMGjZ3sE_Ng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nqNXNr.VmgMWXMbAeDQA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C9NVZds2qBEanAHfUixQ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NrBp2GROwhk2OhC8V2T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iUYfdhStOKSImZSy4LXQ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RIPrZ4y3Oe2wcIUQVkyQ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.9VvzeuuOVbJ7UitecpA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2QkptewKgDBo6k1zBow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s5ZTvYFAFEbR7sRJNAkA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63LxgGIOvwDNz4ZI4jOw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qCo3EsL9Ki15SCibos.w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iilhOdleqZ5qLlxMNk_Q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ifykE2DT1u3.wLYIAaX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SNCOtjjB1ezGnhjSnG0g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Teg_0yHeiYsureyGxuhA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KzbF_b6XhLiwJGQnvK5g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64g3yh_jS5iekjPpfLpg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X5C.RPSWLWSOHY6TQrJQ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QipRtr68Y5FfoqVZxBEg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gJy3PPS_ypoPwMe8xfKA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gaCIlBqbjn7DNpc5HtLg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vNj6BW6jgHNKzfnb4GRg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m_rggJopdO7GAgWUxRZ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dyIb28XvGQhUgRXOlrbw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emq1vXpdAyAwQ5LrhoTg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CDvkjfQ6iGobDM3i7bZQ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SE8SPmSaZYFlrN5fBblA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uciudoI5Zp91tj9Z6UvQ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_IJay1Xo4tr.aX7kPxlg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3xCkb0SEmM5IphK_pDdg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UJqpM4cVs9JhuyBIgDFQ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s9GrWH_HiJEZml2W5WGA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OiHhXR.juL4CUmIJiTx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5BIAlFEtPlZl0MMg3xnw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2HI8kGlJfj2C6juix.yQ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ZlRggk7.D2sD.NQNgWYA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4IwSyUiNv6YLemXwPnkw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sWAKJQqqWP_APx4sMhag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dtFYH2cUA9H4wuc945wQ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Yv6CZfOGTJ5YvUnZwpHw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xGmbTL7rBJe4hGWZR3yg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K1LmPBUtYp51RAlos9Ow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IjvDPZ6voH4hLjmeos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OwbtJYfb6WQusINbcL_g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2gxFshe9jMIvcmag1DvQ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rmVBheaKXjPvtxY2ne.A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Zf4L98Nu.WazJaNwP9CQ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M_29IYAPkH2y1erLnKJw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8vJBN1ctKao7GGL0MACw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SRw_yJc7o4iTk4hi0yVg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f8eGWdAxYjAWIwAIcfKA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e5nmhWqp9zk4pc.rNUmw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iOrSXUjtIdBri14cd4t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dHDBUCy5GRhpA7C_CYvg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ymwL.X6ttODjmjC9.dyQ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Gw7.c69eMM4eZcfEy4Ug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nZafM8424cfwUMOzC6vg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j7e3.upXE5NCE8QV9KIQ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ogUxY6dHpxp0giRlVgHA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3fTtuCdBp3Pw1xiVZDIA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oQzHvGCHhC29L5UKj5bg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E6XRE7ql8aK50boRbQmg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5Wpzgt01DEXZgGGBMC1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C4Y10e0YNlJjgRrC3KOA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IQ59vhLaAqoZAqfxMmBg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lInyoM4wXr4jSSk5xaaA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wQfDR7VFo8Ro40tO188A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C.ZH2cqd.j1YLAOf2DIQ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YwMoImJXlqxan7vhCzSA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Pbv2PvvzF1YY1ZLoDPXA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C3vP067doqpNr2fmiGGw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5wTssBlETkPowvZExv0w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fGoFP0hUg_ZIOqs7sd5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cmLy8uRWryD3GkIPABuw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SeM0fqg.4CfT.1OsslFQ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3Csxailq4KUmAcoSBzlg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FpE3J_MKMhgvR1wN_xg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M59JKZjn_nhOFQdQnYHw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sE_pUliieOLf2ioYYjYw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eG.Z.CRFvP9x4sIzgW6g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_Fm70aLAYfjYq4.vHCSw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I1FVL6tII75KyjKc7TiA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2QkptewKgDBo6k1zBow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F3qIji0imRLlu5QCbbQ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BbSp_BUQu56YER2ducsw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DItVEfsVuweLii4TGXqQ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J1EMR6RtWatLiU1CcbcA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mApjeuWTMr.FcUhXbplw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pPnEu9xEyJWxNgM1pORw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OK.PyzlHgUxMJr045ATw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GJ5ui_lzKERGHNmfwN4w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N_Qq.eBpf.Mw41OyT8Bw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KzbF_b6XhLiwJGQnvK5g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64g3yh_jS5iekjPpfLp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X5C.RPSWLWSOHY6TQrJQ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pJQjr_g80CI8OI6IFgNw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LcQABaAtrq2pVovHKA8Q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.XNXB0bWBKjiHEJFcHZQ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hMzH449AEB8R7c9ngb2Q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npk_rhnwcOESShVUG6IQ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ZX7M0ji._hTz2QbvIdcw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IR.kE1BnBC6IdHgAQXSQ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JrdGrwfbQpcWJ3kuNOVw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1N3fuGY3J0R3eFaugzw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2DOcegPwpZh1j3W13UMg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2LCYBFqEkpX6Gk2Q6nhQ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DfTfdDpMivkWBSDkVN6w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x1RI3okr_7Pm6Eyp0oPw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HAK1MStF4whG.kDRgcdA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1oqZBbQjclNtSYCjXamg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GJzRoSuPTmprjLugoufA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D0ajvsFyanEZjHHC9h6A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AePecpJB7.q.vB3AiRkg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qCeZ3NfWtsDBMpQGQIr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72.qKRUXnMWrF078_ftQ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fLN8tW7OccGv3L9kQ.BA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ZMXHd_pv876QKgCWlUbw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i69XMmpcUGVshhbF9ydQ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vGYte4kRtzdkfr4fvHpw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D1V_GV2vCXV4uEyZ7Nmg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9GSgMicmdlItSBDRS8pg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gEXZcAU12IPopZPfvDjQ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Gv_jGyJSsj5m5lhzJOPQ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2OJqVXPREl6mxKZcUF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e78GL1NS.U97_M1HhYQA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1mZY2MC31X8CLQrcIxkg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ase6m94j5rJt_b8pkDHQ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8p2GbAHlehw.X7HdjiKw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PYTH4DoVk6McH66_g62g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KyhMZ99IaZ0RutssYhvA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ZkT_ll7yTxe7xKBgXUqg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BCKYu382qFRryi9Cwcpw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SvwETgFkqYfp3rqU0kqg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fP3tgpXw6Vr0F6E7ZD8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M_29IYAPkH2y1erLnKJw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8vJBN1ctKao7GGL0MACw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SRw_yJc7o4iTk4hi0yVg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f8eGWdAxYjAWIwAIcfKA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e5nmhWqp9zk4pc.rNUmw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iOrSXUjtIdBri14cd4tg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dHDBUCy5GRhpA7C_CYvg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ymwL.X6ttODjmjC9.dyQ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Gw7.c69eMM4eZcfEy4Ug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nZafM8424cfwUMOzC6v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mnrZ8vQpKPicA3hWDt9Q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j7e3.upXE5NCE8QV9KIQ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ogUxY6dHpxp0giRlVgHA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3fTtuCdBp3Pw1xiVZDIA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oQzHvGCHhC29L5UKj5bg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jhQ0JhUCCm17S_amNB9w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g4MbrmcIy_n0GHpAC6EQ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AeB5dniz6Rq1yEbocftQ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Hfct3EhjdQlR38O.fhug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lTgFb6cDnclt8BAse8VQ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NN7dJbTwfz84FCAayQgw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DCAaF.IQW8NE0bXyysRQ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WmrPDl.4O9huu4SlOnfg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fI6.dlqtXSLBHiCVz7Hw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9EWqBJAwlW5c3BXjkTKw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2QkptewKgDBo6k1zBow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XJUUvsK3XJfynFPyJUWQ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63LxgGIOvwDNz4ZI4jOw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qCo3EsL9Ki15SCibos.w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iilhOdleqZ5qLlxMNk_Q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ifykE2DT1u3.wLYIAaXQ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8C.U3c47nsuy5tSGhZQg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gCuUQBzLBxpqGZLdsOx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bshLvszFiBq6wNcbKAJA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6UEgyVk3huhQzMgGYqgg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rdX9BgmW1TnLJtHxXzyw"/>
</p:tagLst>
</file>

<file path=ppt/tags/tag1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ngeqmSA7xWTFdvIjlX2A"/>
</p:tagLst>
</file>

<file path=ppt/tags/tag1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FlqTe.9YnBr.QE3DJnVQ"/>
</p:tagLst>
</file>

<file path=ppt/tags/tag1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yNkxUp5lxpaJ_z2bOtsg"/>
</p:tagLst>
</file>

<file path=ppt/tags/tag1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vNj6BW6jgHNKzfnb4GRg"/>
</p:tagLst>
</file>

<file path=ppt/tags/tag1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m_rggJopdO7GAgWUxRZQ"/>
</p:tagLst>
</file>

<file path=ppt/tags/tag1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dyIb28XvGQhUgRXOlrbw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emq1vXpdAyAwQ5LrhoT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CDvkjfQ6iGobDM3i7bZQ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SE8SPmSaZYFlrN5fBblA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uciudoI5Zp91tj9Z6UvQ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_IJay1Xo4tr.aX7kPxlg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3xCkb0SEmM5IphK_pDdg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UJqpM4cVs9JhuyBIgDFQ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s9GrWH_HiJEZml2W5WGA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OiHhXR.juL4CUmIJiTxg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5BIAlFEtPlZl0MMg3xnw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2HI8kGlJfj2C6juix.y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ZlRggk7.D2sD.NQNgWYA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4IwSyUiNv6YLemXwPnkw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sWAKJQqqWP_APx4sMhag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dtFYH2cUA9H4wuc945wQ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Yv6CZfOGTJ5YvUnZwpHw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FQcSMqhcH3BXdLudrmYQ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H9ld.cntasn61Y85GewQ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X_KUH6uVaFaCMidym8lA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6yipHOnik4xD.92uqMxQ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kWxSgT8073ufWlnYJOd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kkxzG4SxyfhMwbZDiwvQ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6kgnDvl_awRrUI_zvpPg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2Mlnpe7ZVhS0EWdHH.lA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WHKxhm164F1xHL8ETr7w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2xiut_dPgzJxa_sCqD1A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6Iy.8wA5jPBwQR0Nhmbg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7QjzapofKZ7se8QuooSA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amrRNsbYFs_SkMvxGUHA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FGWjcrpb6_QRNcu.JwAA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VaGQLgR5lctVAXDqqsQQ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0MwaCNhknbHsXKw3C_c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dpqQiwh3QQFjSuyktFJg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vA_bGR8mMgXG3wSAEVYA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AEIpjS0PeeKJH7vkGCJg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5ehOaBEDks0KjyWwVF5Q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LTVqo.tFU6znciSOixow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KoikT.H6LPFoyT37yVdQ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xlYZnpjed3YsQGkM9irg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pNiEt0XhnWdx3NDkUWCg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_.yUL7T6icRuaQ3KDcnQ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Zk6TjIaDWjosi45r76Q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iUYfdhStOKSImZSy4LXQ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2khw09yvqm8VQB6k1gow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HOFaAPMMKIM6x1RymVoQ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lRga2j70Zu5GVpWQX19g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zejAEGKhTGR9d6XesYEQ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hwqv1adz88sOWQW3WRZA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AksbVcrxkEb0bl6kKTag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Ollzbor1_ZQaQ6r4OuIQ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KO1BTTBMmm57Rn_SqU_A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ku7.JKoN9XeQUKvA_93Q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ruolgOwfvLhzekpagDlw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nEM7KUKSmEz8RvttRKWA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m1PN.Z1Edf_QDDmkTjOw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MrGPA4Mb2krD.JCkT1w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zESDPI6c91RmGVuVDlvA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Ntbo95AW1aaGdoAzRA5A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Yr7cevtQ0uf6oTCamGwg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XIo7XgTjAKuLHCDYQBsA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UDt.UycJdYp_bLug2.QA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9EWqBJAwlW5c3BXjkTKw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2QkptewKgDBo6k1zBow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XJUUvsK3XJfynFPyJUW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bshLvszFiBq6wNcbKAJA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6UEgyVk3huhQzMgGYqgg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rdX9BgmW1TnLJtHxXzyw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ngeqmSA7xWTFdvIjlX2A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FlqTe.9YnBr.QE3DJnVQ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yNkxUp5lxpaJ_z2bOtsg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TfdiyGLPwMx5l5.g_TVg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I5poS5jftjX6oZ_R6NOg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tYyXSLG97E5u2IVe7oQQ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A6SeaRU2A_zuz4w6a_U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MhQdeMNFY0sLBF6wgGBQ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.LJRwj_WqXkx17oB6DWA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WHKxhm164F1xHL8ETr7w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2xiut_dPgzJxa_sCqD1A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6Iy.8wA5jPBwQR0Nhmbg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7QjzapofKZ7se8QuooSA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amrRNsbYFs_SkMvxGUHA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FGWjcrpb6_QRNcu.JwAA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VaGQLgR5lctVAXDqqsQQ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0MwaCNhknbHsXKw3C_c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dpqQiwh3QQFjSuyktFJg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vA_bGR8mMgXG3wSAEVYA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AEIpjS0PeeKJH7vkGCJg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5ehOaBEDks0KjyWwVF5Q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LTVqo.tFU6znciSOixow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KoikT.H6LPFoyT37yVdQ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xlYZnpjed3YsQGkM9irg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pNiEt0XhnWdx3NDkUWCg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_.yUL7T6icRuaQ3KDcnQ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Zk6TjIaDWjosi45r76Q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2khw09yvqm8VQB6k1gow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HOFaAPMMKIM6x1RymVoQ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lRga2j70Zu5GVpWQX19g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zejAEGKhTGR9d6XesYEQ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hwqv1adz88sOWQW3WRZA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AksbVcrxkEb0bl6kKTag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Ollzbor1_ZQaQ6r4OuIQ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KO1BTTBMmm57Rn_SqU_A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ku7.JKoN9XeQUKvA_93Q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yeCl7ybcUmNRCeMmrQv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N.8ie5GxyL5BagyWSavw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Oq.1D48XMa35x_muU6Kg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Fcag.ALbEX.xTZruGiQw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C1IWP.WeRhsuMWlN9RzA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jrbv.dEXXvJj0UWNf27g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kMgzAw79CW2Fvshw3EsA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qN_kFBHMgo304ykE8uUQ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g9unJtl3Qs7epNhuHiSQ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knHv2rlhiM2Lra053rew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A6yJZHlqushV9wHlTAY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NXdieS2MGv1z4LEdzrBQ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XJZZNgLMiz4_2KFOlzlQ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mFKOKs1GpdEj_7GAVXzg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WNZ23pUJSpX0qEyTYHZQ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EBQ7YSS1vyHjAvDl0nNQ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RywEo0Po1UEowJI9dvSw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JKIp.wKt77Hb9uAQD_QQ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B065GyZPBnFx2FvjjtSQ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ohaz5bZ9zcOuGU0cKdHQ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4JDtPQ7WsqPYImRA10G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9Tp71afoNUOSIr_2OM6w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BYWTG7Uyg9MBzseew7xA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HWrm7g7OPsKauVzNE9oA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ZGZjoYcp5gvJWlhl1ZyA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deHPI2lsVX_dVYLfYrVQ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ruolgOwfvLhzekpagDlw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nEM7KUKSmEz8RvttRKWA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mfE02QpemL_H4fNbNbYg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V9jo1CmsILp0Tk1Vrshg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TM2KpLfDkOGQVvPBbBZw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wOUF.8MKrTK3V.PfIKFQ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_GYYqjKxuP1n_mT9lCaA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5hSSoTOIiMPcK08lRNEg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UDt.UycJdYp_bLug2.QA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9EWqBJAwlW5c3BXjkTKw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2QkptewKgDBo6k1zBow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1PvVm3D2iA.sV7tNSlRw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0qM93OaJWNAgbfmW0DpQ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qhg2Mtyzgifq.OvavbSA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63LxgGIOvwDNz4ZI4jOw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qCo3EsL9Ki15SCibos.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iilhOdleqZ5qLlxMNk_Q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31DP1rACL2NuIk0TtBgw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qhqllKgGjAB.8P8ESueA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rryudrMVuRgPVLr3_yMQ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Ine0AXuzzTQEfISw04dQ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0ZaSx26eUH4wvV9Ar8sA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BOmgh7UIPcN8f5FKC5tw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2h8FxFA1BHR7u6k5KGVA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C1ukt3.iimgyTELXamC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wWqUsVXpZYAnxGtqXGeg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x5ZwH5h6dN00u5aQB_Nw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1Xp8_zV5Y169Wcc8eMjw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UDt.UycJdYp_bLug2.Q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cqGsayNWlW0t1DgyGIFQ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zU6AzBQfT3IdMnZXDyZw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BAZikj.l6weKpHMkBPAA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ywvCh.1GaVozurT5YPFw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RmfwmDO4gdVKArlBE.a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mnrZ8vQpKPicA3hWDt9Q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koRKrI7HD_ZfEsL1xHCA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MNeArMBR4sI1pNo7cM1A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dLQ6taIk1MHZpjopuqAA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dwwEIKfacMB7XZEmTdPQ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HrvDzihtjiAR3J9Z5Bow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B3s.Ek41plnyfAKWUV2g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dG5GE5yKDTaSC3X1LuyA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vfnp3S8i49LtmNI4B1_w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KGfe4abpwug3E0nsUKjw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Vxo_TT6H6EswIMzBokR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8GG00QvCnFcI8dUEvpaA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jPPs2fxa.ZAVtFItD0Rw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XHOfEv62RRAFhLNSmGQw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UFz7WnFOhAs5LOcWHFTw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6G7i8H4l.p8pPJmvwKBQ"/>
</p:tagLst>
</file>

<file path=ppt/tags/tag1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vVIvppCqh7ItN8rhMRUw"/>
</p:tagLst>
</file>

<file path=ppt/tags/tag1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uTR_GCQUBkTBY4d74eKw"/>
</p:tagLst>
</file>

<file path=ppt/tags/tag1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G3LbDbBwUAgSfGc9zS1A"/>
</p:tagLst>
</file>

<file path=ppt/tags/tag1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Lxd7ISx6w5Gay3P7DL0Q"/>
</p:tagLst>
</file>

<file path=ppt/tags/tag1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9O2bO7zI_kjF50W1lT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LoXU7wfGKsaUVa9iZ2Rw"/>
</p:tagLst>
</file>

<file path=ppt/tags/tag1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qx_jpPYVZsJFK8OPZlOQ"/>
</p:tagLst>
</file>

<file path=ppt/tags/tag1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tW5WcUAZAG73Rn94hABQ"/>
</p:tagLst>
</file>

<file path=ppt/tags/tag1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yFBGOzmWn8NoCSsl50zA"/>
</p:tagLst>
</file>

<file path=ppt/tags/tag1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VZ8UXQ5aBIKREJ1CkXuQ"/>
</p:tagLst>
</file>

<file path=ppt/tags/tag1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2gcVSeRnKtl2TCi.yeKA"/>
</p:tagLst>
</file>

<file path=ppt/tags/tag1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RRGvov1C0wrUpDHpY9SA"/>
</p:tagLst>
</file>

<file path=ppt/tags/tag1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1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BvTx_GLeuC5Kr6K8lQQ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1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1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1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2QkptewKgDBo6k1zBow"/>
</p:tagLst>
</file>

<file path=ppt/tags/tag1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4vcBqaUhtxCCBC0UzWKw"/>
</p:tagLst>
</file>

<file path=ppt/tags/tag1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63LxgGIOvwDNz4ZI4jOw"/>
</p:tagLst>
</file>

<file path=ppt/tags/tag1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qCo3EsL9Ki15SCibos.w"/>
</p:tagLst>
</file>

<file path=ppt/tags/tag1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iilhOdleqZ5qLlxMNk_Q"/>
</p:tagLst>
</file>

<file path=ppt/tags/tag1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ifykE2DT1u3.wLYIAaXQ"/>
</p:tagLst>
</file>

<file path=ppt/tags/tag1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sOoIMxIs4draoqC4w7RQ"/>
</p:tagLst>
</file>

<file path=ppt/tags/tag1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P43yGqqEI.2W7vUCO0A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w_CLBxphF1l8JJT4OV_g"/>
</p:tagLst>
</file>

<file path=ppt/tags/tag1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4HNS82OTDEQ9U_psLaMA"/>
</p:tagLst>
</file>

<file path=ppt/tags/tag1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rTeiuTp7OI2RO7MYtVLA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UUN4RxAaqkrFmPTFGhwg"/>
</p:tagLst>
</file>

<file path=ppt/tags/tag1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AUqMHrNapnyusu1e0TxQ"/>
</p:tagLst>
</file>

<file path=ppt/tags/tag1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BZcsTAOBuPOsx6yTKX2A"/>
</p:tagLst>
</file>

<file path=ppt/tags/tag1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vNj6BW6jgHNKzfnb4GRg"/>
</p:tagLst>
</file>

<file path=ppt/tags/tag1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m_rggJopdO7GAgWUxRZQ"/>
</p:tagLst>
</file>

<file path=ppt/tags/tag1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dyIb28XvGQhUgRXOlrbw"/>
</p:tagLst>
</file>

<file path=ppt/tags/tag1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emq1vXpdAyAwQ5LrhoT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1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CDvkjfQ6iGobDM3i7bZQ"/>
</p:tagLst>
</file>

<file path=ppt/tags/tag1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SE8SPmSaZYFlrN5fBblA"/>
</p:tagLst>
</file>

<file path=ppt/tags/tag1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uciudoI5Zp91tj9Z6UvQ"/>
</p:tagLst>
</file>

<file path=ppt/tags/tag1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_IJay1Xo4tr.aX7kPxlg"/>
</p:tagLst>
</file>

<file path=ppt/tags/tag1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3xCkb0SEmM5IphK_pDdg"/>
</p:tagLst>
</file>

<file path=ppt/tags/tag1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UJqpM4cVs9JhuyBIgDFQ"/>
</p:tagLst>
</file>

<file path=ppt/tags/tag1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s9GrWH_HiJEZml2W5WGA"/>
</p:tagLst>
</file>

<file path=ppt/tags/tag1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OiHhXR.juL4CUmIJiTxg"/>
</p:tagLst>
</file>

<file path=ppt/tags/tag1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5BIAlFEtPlZl0MMg3xnw"/>
</p:tagLst>
</file>

<file path=ppt/tags/tag1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2HI8kGlJfj2C6juix.y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ZlRggk7.D2sD.NQNgWYA"/>
</p:tagLst>
</file>

<file path=ppt/tags/tag1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4IwSyUiNv6YLemXwPnkw"/>
</p:tagLst>
</file>

<file path=ppt/tags/tag1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sWAKJQqqWP_APx4sMhag"/>
</p:tagLst>
</file>

<file path=ppt/tags/tag1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dtFYH2cUA9H4wuc945wQ"/>
</p:tagLst>
</file>

<file path=ppt/tags/tag1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Yv6CZfOGTJ5YvUnZwpHw"/>
</p:tagLst>
</file>

<file path=ppt/tags/tag1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tvNNo6LsU2.4qDmEvH9g"/>
</p:tagLst>
</file>

<file path=ppt/tags/tag1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5T.olls.k_DJm2_e8__A"/>
</p:tagLst>
</file>

<file path=ppt/tags/tag1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bkhN5qhpf8BR1kqRLokg"/>
</p:tagLst>
</file>

<file path=ppt/tags/tag1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EEDxwCQiQ0KMp96KIaUA"/>
</p:tagLst>
</file>

<file path=ppt/tags/tag1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eluFsJsicjmP1OUhxvj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GQ3Kq7rz9hZiv_JR.iaA"/>
</p:tagLst>
</file>

<file path=ppt/tags/tag1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yH3QypAUOnlVScAielQ"/>
</p:tagLst>
</file>

<file path=ppt/tags/tag1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tgU0obXya2rBSv4u4HLA"/>
</p:tagLst>
</file>

<file path=ppt/tags/tag1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q4x1LVv3Nb3nr8RxyyKA"/>
</p:tagLst>
</file>

<file path=ppt/tags/tag1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kSUKaf4fzn3Lw5dEAeuA"/>
</p:tagLst>
</file>

<file path=ppt/tags/tag1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zo3RUSORtatzHbJCu8qQ"/>
</p:tagLst>
</file>

<file path=ppt/tags/tag1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Dn2XwZUc_elPpc.4X8Gw"/>
</p:tagLst>
</file>

<file path=ppt/tags/tag1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5Mdtaoq7hyTKKNIJICqA"/>
</p:tagLst>
</file>

<file path=ppt/tags/tag1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qWoRScndV4OOALzZU22g"/>
</p:tagLst>
</file>

<file path=ppt/tags/tag1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sx3r.r4qvbVmseWkr03Q"/>
</p:tagLst>
</file>

<file path=ppt/tags/tag1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e9IL4nV2mDXmxg9Qes6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o8ip_1sa9cdflycpUjEg"/>
</p:tagLst>
</file>

<file path=ppt/tags/tag1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KvFOPKJr0E.tzLbS7USQ"/>
</p:tagLst>
</file>

<file path=ppt/tags/tag1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1ITrSMYnwPr5j_kPk76w"/>
</p:tagLst>
</file>

<file path=ppt/tags/tag1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7O71jaOrqWEdrWP1rtuw"/>
</p:tagLst>
</file>

<file path=ppt/tags/tag1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LuvJTyCuSwZIf0pdRzGQ"/>
</p:tagLst>
</file>

<file path=ppt/tags/tag1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.fH.m08SrnANr05KecbA"/>
</p:tagLst>
</file>

<file path=ppt/tags/tag1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wdF7YJWFVS7NJwC0xgWw"/>
</p:tagLst>
</file>

<file path=ppt/tags/tag1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2EDd4swykEY1StCiFB_g"/>
</p:tagLst>
</file>

<file path=ppt/tags/tag1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pYVnv.LHWXupfmrw_oBg"/>
</p:tagLst>
</file>

<file path=ppt/tags/tag1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md59irCW9S7JPRY8woh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kkxzG4SxyfhMwbZDiwvQ"/>
</p:tagLst>
</file>

<file path=ppt/tags/tag1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Y4oshqQGmzO3dKHgdqNg"/>
</p:tagLst>
</file>

<file path=ppt/tags/tag1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crdbH1Anvjj1nrFriOyA"/>
</p:tagLst>
</file>

<file path=ppt/tags/tag1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ipA513JU.DVe1ribejzA"/>
</p:tagLst>
</file>

<file path=ppt/tags/tag1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Ze5vTuThiSJARZeQy1.Q"/>
</p:tagLst>
</file>

<file path=ppt/tags/tag1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K6Synes8WJGpO6iNH9.g"/>
</p:tagLst>
</file>

<file path=ppt/tags/tag1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9zbeePwzTWWBf90ua8zQ"/>
</p:tagLst>
</file>

<file path=ppt/tags/tag1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Gm7CLnVla0PbZQTrxjUQ"/>
</p:tagLst>
</file>

<file path=ppt/tags/tag1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GzEeXPl_Q_je_13bdGPg"/>
</p:tagLst>
</file>

<file path=ppt/tags/tag1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mSHV3yyhBsam6JXIwinA"/>
</p:tagLst>
</file>

<file path=ppt/tags/tag1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HtovRrlhwRFFB9pV7kP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Z_22P79yHaRVjUONw8zA"/>
</p:tagLst>
</file>

<file path=ppt/tags/tag1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5aT.emP4rSBDBggrqJ9Q"/>
</p:tagLst>
</file>

<file path=ppt/tags/tag1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1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aJAnVocfy5PMxDV0urHA"/>
</p:tagLst>
</file>

<file path=ppt/tags/tag1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1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1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1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1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SpcWB2RWmeDtN0QZh0fA"/>
</p:tagLst>
</file>

<file path=ppt/tags/tag1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rWGbHhYb3eRMZzhw9st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1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_zKnmcmjSm1tyDUsBimQ"/>
</p:tagLst>
</file>

<file path=ppt/tags/tag1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EIY1CNl7NCQqYQRAChOQ"/>
</p:tagLst>
</file>

<file path=ppt/tags/tag1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1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1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1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s6CuVJl5V0h6uMZ8BUCg"/>
</p:tagLst>
</file>

<file path=ppt/tags/tag1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1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m9vS2ElblV6XxLf7jIsA"/>
</p:tagLst>
</file>

<file path=ppt/tags/tag1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1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2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2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2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BvTx_GLeuC5Kr6K8lQQg"/>
</p:tagLst>
</file>

<file path=ppt/tags/tag2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2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2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2QkptewKgDBo6k1zBo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iUYfdhStOKSImZSy4LXQ"/>
</p:tagLst>
</file>

<file path=ppt/tags/tag2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4vcBqaUhtxCCBC0UzWKw"/>
</p:tagLst>
</file>

<file path=ppt/tags/tag2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w_CLBxphF1l8JJT4OV_g"/>
</p:tagLst>
</file>

<file path=ppt/tags/tag2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4HNS82OTDEQ9U_psLaMA"/>
</p:tagLst>
</file>

<file path=ppt/tags/tag2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rTeiuTp7OI2RO7MYtVLA"/>
</p:tagLst>
</file>

<file path=ppt/tags/tag2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UUN4RxAaqkrFmPTFGhwg"/>
</p:tagLst>
</file>

<file path=ppt/tags/tag2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AUqMHrNapnyusu1e0TxQ"/>
</p:tagLst>
</file>

<file path=ppt/tags/tag2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BZcsTAOBuPOsx6yTKX2A"/>
</p:tagLst>
</file>

<file path=ppt/tags/tag2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Ouh_nEL2guPwXYUi5KpA"/>
</p:tagLst>
</file>

<file path=ppt/tags/tag2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voBgEPzsbS8iu5g6xYug"/>
</p:tagLst>
</file>

<file path=ppt/tags/tag2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VihW01s.GMqp7ZsSJh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dMVIJw4M7z.oKVKF3ynw"/>
</p:tagLst>
</file>

<file path=ppt/tags/tag2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GC3tvkKjkUOUbKwWp_Vw"/>
</p:tagLst>
</file>

<file path=ppt/tags/tag2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fywVfxzvr6ZURMZkL1hg"/>
</p:tagLst>
</file>

<file path=ppt/tags/tag2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q4x1LVv3Nb3nr8RxyyKA"/>
</p:tagLst>
</file>

<file path=ppt/tags/tag2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kSUKaf4fzn3Lw5dEAeuA"/>
</p:tagLst>
</file>

<file path=ppt/tags/tag2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zo3RUSORtatzHbJCu8qQ"/>
</p:tagLst>
</file>

<file path=ppt/tags/tag2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Dn2XwZUc_elPpc.4X8Gw"/>
</p:tagLst>
</file>

<file path=ppt/tags/tag2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5Mdtaoq7hyTKKNIJICqA"/>
</p:tagLst>
</file>

<file path=ppt/tags/tag2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qWoRScndV4OOALzZU22g"/>
</p:tagLst>
</file>

<file path=ppt/tags/tag2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sx3r.r4qvbVmseWkr03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e9IL4nV2mDXmxg9Qes6g"/>
</p:tagLst>
</file>

<file path=ppt/tags/tag2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o8ip_1sa9cdflycpUjEg"/>
</p:tagLst>
</file>

<file path=ppt/tags/tag2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KvFOPKJr0E.tzLbS7USQ"/>
</p:tagLst>
</file>

<file path=ppt/tags/tag2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1ITrSMYnwPr5j_kPk76w"/>
</p:tagLst>
</file>

<file path=ppt/tags/tag2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7O71jaOrqWEdrWP1rtuw"/>
</p:tagLst>
</file>

<file path=ppt/tags/tag2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LuvJTyCuSwZIf0pdRzGQ"/>
</p:tagLst>
</file>

<file path=ppt/tags/tag2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.fH.m08SrnANr05KecbA"/>
</p:tagLst>
</file>

<file path=ppt/tags/tag2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wdF7YJWFVS7NJwC0xgWw"/>
</p:tagLst>
</file>

<file path=ppt/tags/tag2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2EDd4swykEY1StCiFB_g"/>
</p:tagLst>
</file>

<file path=ppt/tags/tag2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pYVnv.LHWXupfmrw_oB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md59irCW9S7JPRY8wohQ"/>
</p:tagLst>
</file>

<file path=ppt/tags/tag2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Y4oshqQGmzO3dKHgdqNg"/>
</p:tagLst>
</file>

<file path=ppt/tags/tag2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crdbH1Anvjj1nrFriOyA"/>
</p:tagLst>
</file>

<file path=ppt/tags/tag2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ipA513JU.DVe1ribejzA"/>
</p:tagLst>
</file>

<file path=ppt/tags/tag2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Ze5vTuThiSJARZeQy1.Q"/>
</p:tagLst>
</file>

<file path=ppt/tags/tag2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K6Synes8WJGpO6iNH9.g"/>
</p:tagLst>
</file>

<file path=ppt/tags/tag2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9zbeePwzTWWBf90ua8zQ"/>
</p:tagLst>
</file>

<file path=ppt/tags/tag2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Gm7CLnVla0PbZQTrxjUQ"/>
</p:tagLst>
</file>

<file path=ppt/tags/tag2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GzEeXPl_Q_je_13bdGPg"/>
</p:tagLst>
</file>

<file path=ppt/tags/tag2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mSHV3yyhBsam6JXIwin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JBRQiDtZgXt8.uODo3TA"/>
</p:tagLst>
</file>

<file path=ppt/tags/tag2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eYEHd2EsD1bjjTokPNA"/>
</p:tagLst>
</file>

<file path=ppt/tags/tag2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_A85U5ooquBus5rRgpJw"/>
</p:tagLst>
</file>

<file path=ppt/tags/tag2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RpFHTWs98LYQZJuSha7g"/>
</p:tagLst>
</file>

<file path=ppt/tags/tag2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Ri5jOxO3okKYPDCYyp7A"/>
</p:tagLst>
</file>

<file path=ppt/tags/tag2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OFmmiL59mrKp0b.jsFYg"/>
</p:tagLst>
</file>

<file path=ppt/tags/tag2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ehgj6Smf0lKARLykjq0w"/>
</p:tagLst>
</file>

<file path=ppt/tags/tag2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kQpoPoM357p3QHJ23rHA"/>
</p:tagLst>
</file>

<file path=ppt/tags/tag2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6wFWMbq3357aNFM7eoTXg"/>
</p:tagLst>
</file>

<file path=ppt/tags/tag2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stM6GXmPWzUo2Sbw5pi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8V0iQ_Yoz2LWBbapjRQA"/>
</p:tagLst>
</file>

<file path=ppt/tags/tag2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GEF5.zzH1IyxcOR_0veA"/>
</p:tagLst>
</file>

<file path=ppt/tags/tag2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boBBqH_U87jZuHTF0r_A"/>
</p:tagLst>
</file>

<file path=ppt/tags/tag2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HP0XY8jiDEBkYX_s_G_A"/>
</p:tagLst>
</file>

<file path=ppt/tags/tag2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p84vD_movuZWyUHWohcw"/>
</p:tagLst>
</file>

<file path=ppt/tags/tag2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GZHulhooeN_lZKmxzwnw"/>
</p:tagLst>
</file>

<file path=ppt/tags/tag2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VWYVXoNTNoemxNlLa4Zg"/>
</p:tagLst>
</file>

<file path=ppt/tags/tag2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4sZn0MvH2Pj7GPN7qPkg"/>
</p:tagLst>
</file>

<file path=ppt/tags/tag2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L2CSW_zAmzqLZ51UvRMA"/>
</p:tagLst>
</file>

<file path=ppt/tags/tag2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JDLb0OuF4GeMdv3uJE3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PEygq2LeL8Cmm_WeckZQ"/>
</p:tagLst>
</file>

<file path=ppt/tags/tag2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OJTZTQOoUCQlYT6fLJEw"/>
</p:tagLst>
</file>

<file path=ppt/tags/tag2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H.pE9ZchDDZhiNiKDGhQ"/>
</p:tagLst>
</file>

<file path=ppt/tags/tag2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ygGCFLTWxaQYDn_jy4ng"/>
</p:tagLst>
</file>

<file path=ppt/tags/tag2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wG9amuKP43zPMtO2fk5Q"/>
</p:tagLst>
</file>

<file path=ppt/tags/tag2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2S8PM4fVU8LFqOKIELFA"/>
</p:tagLst>
</file>

<file path=ppt/tags/tag2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2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2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rWGbHhYb3eRMZzhw9stg"/>
</p:tagLst>
</file>

<file path=ppt/tags/tag2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SpcWB2RWmeDtN0QZh0f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2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2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UwfQRZluuIoEQSeTBAAg"/>
</p:tagLst>
</file>

<file path=ppt/tags/tag2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2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2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D_IPkSKTAL8bGoTrctZA"/>
</p:tagLst>
</file>

<file path=ppt/tags/tag2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z7sGl.vdjLz1TXLWx_9g"/>
</p:tagLst>
</file>

<file path=ppt/tags/tag2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UAvO902a45wgZ_AP7pQ"/>
</p:tagLst>
</file>

<file path=ppt/tags/tag2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qsIY18T7dCf8Yf6Fzi0A"/>
</p:tagLst>
</file>

<file path=ppt/tags/tag2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Ebnmr674xl7cCJX.uJX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2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m9vS2ElblV6XxLf7jIsA"/>
</p:tagLst>
</file>

<file path=ppt/tags/tag2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2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s6CuVJl5V0h6uMZ8BUCg"/>
</p:tagLst>
</file>

<file path=ppt/tags/tag2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2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2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2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2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2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2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2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2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vNRIUzGpl7.Lwr1ffkSQ"/>
</p:tagLst>
</file>

<file path=ppt/tags/tag2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BvTx_GLeuC5Kr6K8lQQg"/>
</p:tagLst>
</file>

<file path=ppt/tags/tag2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2QkptewKgDBo6k1zBow"/>
</p:tagLst>
</file>

<file path=ppt/tags/tag2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xaX3OXBW0JlemlWD1WPg"/>
</p:tagLst>
</file>

<file path=ppt/tags/tag2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63LxgGIOvwDNz4ZI4jO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qCo3EsL9Ki15SCibos.w"/>
</p:tagLst>
</file>

<file path=ppt/tags/tag2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iilhOdleqZ5qLlxMNk_Q"/>
</p:tagLst>
</file>

<file path=ppt/tags/tag2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ifykE2DT1u3.wLYIAaXQ"/>
</p:tagLst>
</file>

<file path=ppt/tags/tag2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M79qscnwjtNIghZfESIw"/>
</p:tagLst>
</file>

<file path=ppt/tags/tag2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Y.i4dL585MQUVoKvqEug"/>
</p:tagLst>
</file>

<file path=ppt/tags/tag2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Y0cQ2OSzpE1TcaFLhWUg"/>
</p:tagLst>
</file>

<file path=ppt/tags/tag2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NiAvwrNmjGUWv8oaEg4Q"/>
</p:tagLst>
</file>

<file path=ppt/tags/tag2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Jx8jYvkAwT.O6vVdlpXw"/>
</p:tagLst>
</file>

<file path=ppt/tags/tag2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x2pBKD2quqBAGKep2J_w"/>
</p:tagLst>
</file>

<file path=ppt/tags/tag2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VmAz2lLiyb_WuvWOmc7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ZTvLSUA2dysjdZkgMK8Q"/>
</p:tagLst>
</file>

<file path=ppt/tags/tag2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vNj6BW6jgHNKzfnb4GRg"/>
</p:tagLst>
</file>

<file path=ppt/tags/tag2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m_rggJopdO7GAgWUxRZQ"/>
</p:tagLst>
</file>

<file path=ppt/tags/tag2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dyIb28XvGQhUgRXOlrbw"/>
</p:tagLst>
</file>

<file path=ppt/tags/tag2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emq1vXpdAyAwQ5LrhoTg"/>
</p:tagLst>
</file>

<file path=ppt/tags/tag2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CDvkjfQ6iGobDM3i7bZQ"/>
</p:tagLst>
</file>

<file path=ppt/tags/tag2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SE8SPmSaZYFlrN5fBblA"/>
</p:tagLst>
</file>

<file path=ppt/tags/tag2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uciudoI5Zp91tj9Z6UvQ"/>
</p:tagLst>
</file>

<file path=ppt/tags/tag2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_IJay1Xo4tr.aX7kPxlg"/>
</p:tagLst>
</file>

<file path=ppt/tags/tag2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3xCkb0SEmM5IphK_pDd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UJqpM4cVs9JhuyBIgDFQ"/>
</p:tagLst>
</file>

<file path=ppt/tags/tag2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s9GrWH_HiJEZml2W5WGA"/>
</p:tagLst>
</file>

<file path=ppt/tags/tag2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OiHhXR.juL4CUmIJiTxg"/>
</p:tagLst>
</file>

<file path=ppt/tags/tag2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5BIAlFEtPlZl0MMg3xnw"/>
</p:tagLst>
</file>

<file path=ppt/tags/tag2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2HI8kGlJfj2C6juix.yQ"/>
</p:tagLst>
</file>

<file path=ppt/tags/tag2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ZlRggk7.D2sD.NQNgWYA"/>
</p:tagLst>
</file>

<file path=ppt/tags/tag2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4IwSyUiNv6YLemXwPnkw"/>
</p:tagLst>
</file>

<file path=ppt/tags/tag2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sWAKJQqqWP_APx4sMhag"/>
</p:tagLst>
</file>

<file path=ppt/tags/tag2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dtFYH2cUA9H4wuc945wQ"/>
</p:tagLst>
</file>

<file path=ppt/tags/tag2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Yv6CZfOGTJ5YvUnZwpH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fYDI24innt8CstOaF4Cg"/>
</p:tagLst>
</file>

<file path=ppt/tags/tag2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R9yEwbKJJeSfwx_rP6aw"/>
</p:tagLst>
</file>

<file path=ppt/tags/tag2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PRTxlQH5qSIZ62oq4tcw"/>
</p:tagLst>
</file>

<file path=ppt/tags/tag2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3uk8TIdFysEweEcNX6Rw"/>
</p:tagLst>
</file>

<file path=ppt/tags/tag2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EV8Z4YWfu.o.0gZtt6Dg"/>
</p:tagLst>
</file>

<file path=ppt/tags/tag2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8_zu1YGT7jzFndd.lwzQ"/>
</p:tagLst>
</file>

<file path=ppt/tags/tag2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.z.8etQpzmaR5MAwGT6w"/>
</p:tagLst>
</file>

<file path=ppt/tags/tag2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yQXNi2jgBN35pWBYCZHw"/>
</p:tagLst>
</file>

<file path=ppt/tags/tag2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htcImEtdSz338PX4iCHg"/>
</p:tagLst>
</file>

<file path=ppt/tags/tag2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5Vz7HwoM2grHBnwjduK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j.R12LYBmIfmtaovTMwg"/>
</p:tagLst>
</file>

<file path=ppt/tags/tag2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7knEMlmSYyAJ_l9tLc5g"/>
</p:tagLst>
</file>

<file path=ppt/tags/tag2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egQYyxYdG.vgk244XGXA"/>
</p:tagLst>
</file>

<file path=ppt/tags/tag2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AyVdX2B19P1hKfj.eLvQ"/>
</p:tagLst>
</file>

<file path=ppt/tags/tag2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cv5vEDoB2J3_oNzHphQ"/>
</p:tagLst>
</file>

<file path=ppt/tags/tag2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GU2bcuuowcYu2rzXQsBg"/>
</p:tagLst>
</file>

<file path=ppt/tags/tag2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1e7uweNIGpQZMwuAeSJA"/>
</p:tagLst>
</file>

<file path=ppt/tags/tag2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SIfq62C5Bj1mvQIA49rw"/>
</p:tagLst>
</file>

<file path=ppt/tags/tag2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nyu4jVVrdjHoilMfvl6A"/>
</p:tagLst>
</file>

<file path=ppt/tags/tag2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s3GXIlEN5EIo.u0fQWq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urQAL9oAZ9rabVj_skKA"/>
</p:tagLst>
</file>

<file path=ppt/tags/tag2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Ab4.ibNGuPOecn2zn7GQ"/>
</p:tagLst>
</file>

<file path=ppt/tags/tag2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1VLaiWHA45KZTuiso3nw"/>
</p:tagLst>
</file>

<file path=ppt/tags/tag2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Q8gkSxakqC9Pqc7zmX7g"/>
</p:tagLst>
</file>

<file path=ppt/tags/tag2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2c1kQSVnfD8UesglaOlA"/>
</p:tagLst>
</file>

<file path=ppt/tags/tag2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CEv59FHSElsNZp40Gi_g"/>
</p:tagLst>
</file>

<file path=ppt/tags/tag2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6T0XEy2ECgvGr9jiEwMg"/>
</p:tagLst>
</file>

<file path=ppt/tags/tag2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.V9T6gB512XYZaYsn9ZA"/>
</p:tagLst>
</file>

<file path=ppt/tags/tag2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ODM1cP.UBB_Gs29zECag"/>
</p:tagLst>
</file>

<file path=ppt/tags/tag2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dA7ReTKf5MnqEBnGynW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vlg8sextRkOLpM4Gff3Q"/>
</p:tagLst>
</file>

<file path=ppt/tags/tag2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VM_HcYfxFi4OgWpTN7uQ"/>
</p:tagLst>
</file>

<file path=ppt/tags/tag2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s38bfOMCtv_BMFD9X1Qg"/>
</p:tagLst>
</file>

<file path=ppt/tags/tag2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YExWeRpqEi9oTlXIN5IQ"/>
</p:tagLst>
</file>

<file path=ppt/tags/tag2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xAJRqGbln27RZRl64BGw"/>
</p:tagLst>
</file>

<file path=ppt/tags/tag2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2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2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2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2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0Od3Y_XZq.C2Z5yMuiy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mnrZ8vQpKPicA3hWDt9Q"/>
</p:tagLst>
</file>

<file path=ppt/tags/tag2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FKJ1mbWta9Q01wenVEg"/>
</p:tagLst>
</file>

<file path=ppt/tags/tag2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71BEqMlZZM33ZBZ4g4HA"/>
</p:tagLst>
</file>

<file path=ppt/tags/tag2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47_tADmDdHb9zszgJ9ag"/>
</p:tagLst>
</file>

<file path=ppt/tags/tag2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UyGKaQyf4OV_6ZhufFOQ"/>
</p:tagLst>
</file>

<file path=ppt/tags/tag2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1XkQqB4OR8A.HpW7vkBA"/>
</p:tagLst>
</file>

<file path=ppt/tags/tag2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2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2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deez28n0PlgwVfIotmww"/>
</p:tagLst>
</file>

<file path=ppt/tags/tag2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s6CuVJl5V0h6uMZ8BUCg"/>
</p:tagLst>
</file>

<file path=ppt/tags/tag2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m9vS2ElblV6XxLf7jIs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2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1rcrifm90l7EkDRkQU0w"/>
</p:tagLst>
</file>

<file path=ppt/tags/tag2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2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2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2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2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2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2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2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vNRIUzGpl7.Lwr1ffkSQ"/>
</p:tagLst>
</file>

<file path=ppt/tags/tag2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BvTx_GLeuC5Kr6K8lQQg"/>
</p:tagLst>
</file>

<file path=ppt/tags/tag2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2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2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2QkptewKgDBo6k1zBow"/>
</p:tagLst>
</file>

<file path=ppt/tags/tag2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xaX3OXBW0JlemlWD1WPg"/>
</p:tagLst>
</file>

<file path=ppt/tags/tag2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Y0cQ2OSzpE1TcaFLhWUg"/>
</p:tagLst>
</file>

<file path=ppt/tags/tag2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NiAvwrNmjGUWv8oaEg4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Jx8jYvkAwT.O6vVdlpXw"/>
</p:tagLst>
</file>

<file path=ppt/tags/tag2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x2pBKD2quqBAGKep2J_w"/>
</p:tagLst>
</file>

<file path=ppt/tags/tag2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VmAz2lLiyb_WuvWOmc7w"/>
</p:tagLst>
</file>

<file path=ppt/tags/tag2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ZTvLSUA2dysjdZkgMK8Q"/>
</p:tagLst>
</file>

<file path=ppt/tags/tag2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JfHvDH1QY7LF28DlQTow"/>
</p:tagLst>
</file>

<file path=ppt/tags/tag2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LeQGNdXBpj17KTGj_aCw"/>
</p:tagLst>
</file>

<file path=ppt/tags/tag2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cOB_OEEVYrotlU9w6Tlw"/>
</p:tagLst>
</file>

<file path=ppt/tags/tag2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EiY78UBkXu5DJQ5is7pQ"/>
</p:tagLst>
</file>

<file path=ppt/tags/tag2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K1REa3frM8FRdZRP6mKw"/>
</p:tagLst>
</file>

<file path=ppt/tags/tag2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XFIkDq3OBvICeN2lJKL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yQXNi2jgBN35pWBYCZHw"/>
</p:tagLst>
</file>

<file path=ppt/tags/tag2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htcImEtdSz338PX4iCHg"/>
</p:tagLst>
</file>

<file path=ppt/tags/tag2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5Vz7HwoM2grHBnwjduKQ"/>
</p:tagLst>
</file>

<file path=ppt/tags/tag2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j.R12LYBmIfmtaovTMwg"/>
</p:tagLst>
</file>

<file path=ppt/tags/tag2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7knEMlmSYyAJ_l9tLc5g"/>
</p:tagLst>
</file>

<file path=ppt/tags/tag2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egQYyxYdG.vgk244XGXA"/>
</p:tagLst>
</file>

<file path=ppt/tags/tag2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AyVdX2B19P1hKfj.eLvQ"/>
</p:tagLst>
</file>

<file path=ppt/tags/tag2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cv5vEDoB2J3_oNzHphQ"/>
</p:tagLst>
</file>

<file path=ppt/tags/tag2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GU2bcuuowcYu2rzXQsBg"/>
</p:tagLst>
</file>

<file path=ppt/tags/tag2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1e7uweNIGpQZMwuAeSJ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2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SIfq62C5Bj1mvQIA49rw"/>
</p:tagLst>
</file>

<file path=ppt/tags/tag2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nyu4jVVrdjHoilMfvl6A"/>
</p:tagLst>
</file>

<file path=ppt/tags/tag2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s3GXIlEN5EIo.u0fQWqQ"/>
</p:tagLst>
</file>

<file path=ppt/tags/tag2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urQAL9oAZ9rabVj_skKA"/>
</p:tagLst>
</file>

<file path=ppt/tags/tag2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Ab4.ibNGuPOecn2zn7GQ"/>
</p:tagLst>
</file>

<file path=ppt/tags/tag2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1VLaiWHA45KZTuiso3nw"/>
</p:tagLst>
</file>

<file path=ppt/tags/tag2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Q8gkSxakqC9Pqc7zmX7g"/>
</p:tagLst>
</file>

<file path=ppt/tags/tag2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2c1kQSVnfD8UesglaOlA"/>
</p:tagLst>
</file>

<file path=ppt/tags/tag2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CEv59FHSElsNZp40Gi_g"/>
</p:tagLst>
</file>

<file path=ppt/tags/tag2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6T0XEy2ECgvGr9jiEwM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.V9T6gB512XYZaYsn9ZA"/>
</p:tagLst>
</file>

<file path=ppt/tags/tag2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ODM1cP.UBB_Gs29zECag"/>
</p:tagLst>
</file>

<file path=ppt/tags/tag2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dA7ReTKf5MnqEBnGynWQ"/>
</p:tagLst>
</file>

<file path=ppt/tags/tag2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vlg8sextRkOLpM4Gff3Q"/>
</p:tagLst>
</file>

<file path=ppt/tags/tag2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VM_HcYfxFi4OgWpTN7uQ"/>
</p:tagLst>
</file>

<file path=ppt/tags/tag2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s38bfOMCtv_BMFD9X1Qg"/>
</p:tagLst>
</file>

<file path=ppt/tags/tag2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YExWeRpqEi9oTlXIN5IQ"/>
</p:tagLst>
</file>

<file path=ppt/tags/tag2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EeXvGDL.KBF6x3mXitZQ"/>
</p:tagLst>
</file>

<file path=ppt/tags/tag2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nXYKJSev_kwoUpQhayww"/>
</p:tagLst>
</file>

<file path=ppt/tags/tag2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QMQl3CxOkp3nFY37XNw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GQ3Kq7rz9hZiv_JR.iaA"/>
</p:tagLst>
</file>

<file path=ppt/tags/tag2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V0qmmwrJJq3PgKKGiLnA"/>
</p:tagLst>
</file>

<file path=ppt/tags/tag2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Xv9XDlX61hqmzNVwrGA"/>
</p:tagLst>
</file>

<file path=ppt/tags/tag2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HqIotKCgomcLukwqa26g"/>
</p:tagLst>
</file>

<file path=ppt/tags/tag2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DN68zVWR8iSEeGftBvzQ"/>
</p:tagLst>
</file>

<file path=ppt/tags/tag2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i8DYIKKZdk7myCa7QdCA"/>
</p:tagLst>
</file>

<file path=ppt/tags/tag2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QmS3cQZrJ55KjABiMngg"/>
</p:tagLst>
</file>

<file path=ppt/tags/tag2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UmG59M8ijF1j3VvhaLDA"/>
</p:tagLst>
</file>

<file path=ppt/tags/tag2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q.SeWh4lmygb38tKy1UQ"/>
</p:tagLst>
</file>

<file path=ppt/tags/tag2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DWxHxQeXGWMqn60TZJOw"/>
</p:tagLst>
</file>

<file path=ppt/tags/tag2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94wDzF.cd1PLvaGfVuQ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_2Pv7tOZ.QH6QN7G1p.g"/>
</p:tagLst>
</file>

<file path=ppt/tags/tag2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yabXVITfEgmGLrvxNihQ"/>
</p:tagLst>
</file>

<file path=ppt/tags/tag2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JSfPiAD6mhDfr_XMCAfw"/>
</p:tagLst>
</file>

<file path=ppt/tags/tag2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r.cv5MHgKGBbBY12_L9w"/>
</p:tagLst>
</file>

<file path=ppt/tags/tag2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pijy8ENSlKO_cfCsrgPQ"/>
</p:tagLst>
</file>

<file path=ppt/tags/tag2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Oz5.O_xLLXnQb5nO7knw"/>
</p:tagLst>
</file>

<file path=ppt/tags/tag2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f4WGGyaD8vsLn0ms9s0g"/>
</p:tagLst>
</file>

<file path=ppt/tags/tag2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L9nraMi98EgicdD8mEug"/>
</p:tagLst>
</file>

<file path=ppt/tags/tag2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MQJ_Et7gek_2M65Mpahg"/>
</p:tagLst>
</file>

<file path=ppt/tags/tag2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y8J2yb8w4440.oAetM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2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7giCOwK80BIFPYuNpqLw"/>
</p:tagLst>
</file>

<file path=ppt/tags/tag2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pTQWvgeIiPv75UX0dTNg"/>
</p:tagLst>
</file>

<file path=ppt/tags/tag2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OdKWfn.WlRcY0PcJ_vNw"/>
</p:tagLst>
</file>

<file path=ppt/tags/tag2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YrTDfDxQJYVXsh4fWj5g"/>
</p:tagLst>
</file>

<file path=ppt/tags/tag2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2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no4_o6oqag59SdtaHqkA"/>
</p:tagLst>
</file>

<file path=ppt/tags/tag2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o8tqC7.oK5DFEU3rfAPQ"/>
</p:tagLst>
</file>

<file path=ppt/tags/tag2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2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F5dGZwACX0UbW7MyLIqw"/>
</p:tagLst>
</file>

<file path=ppt/tags/tag2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2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2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2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0Od3Y_XZq.C2Z5yMuiyw"/>
</p:tagLst>
</file>

<file path=ppt/tags/tag2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FKJ1mbWta9Q01wenVEg"/>
</p:tagLst>
</file>

<file path=ppt/tags/tag2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2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l1McpHmfwPaSJh43GYoQ"/>
</p:tagLst>
</file>

<file path=ppt/tags/tag2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Ad7psIlBYQLOtMMXqJSA"/>
</p:tagLst>
</file>

<file path=ppt/tags/tag2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s6CuVJl5V0h6uMZ8BUCg"/>
</p:tagLst>
</file>

<file path=ppt/tags/tag2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m9vS2ElblV6XxLf7jIsA"/>
</p:tagLst>
</file>

<file path=ppt/tags/tag2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jcNZna9samcf3hbOs3eQ"/>
</p:tagLst>
</file>

<file path=ppt/tags/tag2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1rcrifm90l7EkDRkQU0w"/>
</p:tagLst>
</file>

<file path=ppt/tags/tag2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2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2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2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2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2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2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_yZhHSTRz6cp9sc0HTuw"/>
</p:tagLst>
</file>

<file path=ppt/tags/tag2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2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2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BvTx_GLeuC5Kr6K8lQQg"/>
</p:tagLst>
</file>

<file path=ppt/tags/tag2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2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vNRIUzGpl7.Lwr1ffkSQ"/>
</p:tagLst>
</file>

<file path=ppt/tags/tag2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2QkptewKgDBo6k1zBow"/>
</p:tagLst>
</file>

<file path=ppt/tags/tag2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rhIKw6ierFdjpJHcTXFw"/>
</p:tagLst>
</file>

<file path=ppt/tags/tag2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63LxgGIOvwDNz4ZI4jOw"/>
</p:tagLst>
</file>

<file path=ppt/tags/tag2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qCo3EsL9Ki15SCibos.w"/>
</p:tagLst>
</file>

<file path=ppt/tags/tag2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iilhOdleqZ5qLlxMNk_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KiH8vV91XjsQYKiy1pnQ"/>
</p:tagLst>
</file>

<file path=ppt/tags/tag2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ifykE2DT1u3.wLYIAaXQ"/>
</p:tagLst>
</file>

<file path=ppt/tags/tag2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C4HPWYhtgyZ.SUghfLXw"/>
</p:tagLst>
</file>

<file path=ppt/tags/tag2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PSzkN16qprQ2bv4frr6Q"/>
</p:tagLst>
</file>

<file path=ppt/tags/tag2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xxfeqLJu_wWQ4FVBjkFg"/>
</p:tagLst>
</file>

<file path=ppt/tags/tag2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IZrxAFstpXKaJP_LVTsw"/>
</p:tagLst>
</file>

<file path=ppt/tags/tag2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vlakOUU9MabIZYPOEQ3w"/>
</p:tagLst>
</file>

<file path=ppt/tags/tag2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oTu8Z9LqtXSygB7026Xg"/>
</p:tagLst>
</file>

<file path=ppt/tags/tag2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Vlbcs7S7S49zliT65H_A"/>
</p:tagLst>
</file>

<file path=ppt/tags/tag2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q3sw8gPg3.bh2Im2R12Q"/>
</p:tagLst>
</file>

<file path=ppt/tags/tag2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vNj6BW6jgHNKzfnb4GR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f8HaQIhRPuwRuN7.LUsQ"/>
</p:tagLst>
</file>

<file path=ppt/tags/tag2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m_rggJopdO7GAgWUxRZQ"/>
</p:tagLst>
</file>

<file path=ppt/tags/tag2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dyIb28XvGQhUgRXOlrbw"/>
</p:tagLst>
</file>

<file path=ppt/tags/tag2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emq1vXpdAyAwQ5LrhoTg"/>
</p:tagLst>
</file>

<file path=ppt/tags/tag2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CDvkjfQ6iGobDM3i7bZQ"/>
</p:tagLst>
</file>

<file path=ppt/tags/tag2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SE8SPmSaZYFlrN5fBblA"/>
</p:tagLst>
</file>

<file path=ppt/tags/tag2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uciudoI5Zp91tj9Z6UvQ"/>
</p:tagLst>
</file>

<file path=ppt/tags/tag2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_IJay1Xo4tr.aX7kPxlg"/>
</p:tagLst>
</file>

<file path=ppt/tags/tag2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3xCkb0SEmM5IphK_pDdg"/>
</p:tagLst>
</file>

<file path=ppt/tags/tag2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UJqpM4cVs9JhuyBIgDFQ"/>
</p:tagLst>
</file>

<file path=ppt/tags/tag2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s9GrWH_HiJEZml2W5WG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p2nphMXwmO3ylDlzESRA"/>
</p:tagLst>
</file>

<file path=ppt/tags/tag2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OiHhXR.juL4CUmIJiTxg"/>
</p:tagLst>
</file>

<file path=ppt/tags/tag2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5BIAlFEtPlZl0MMg3xnw"/>
</p:tagLst>
</file>

<file path=ppt/tags/tag2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2HI8kGlJfj2C6juix.yQ"/>
</p:tagLst>
</file>

<file path=ppt/tags/tag2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ZlRggk7.D2sD.NQNgWYA"/>
</p:tagLst>
</file>

<file path=ppt/tags/tag2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4IwSyUiNv6YLemXwPnkw"/>
</p:tagLst>
</file>

<file path=ppt/tags/tag2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sWAKJQqqWP_APx4sMhag"/>
</p:tagLst>
</file>

<file path=ppt/tags/tag2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dtFYH2cUA9H4wuc945wQ"/>
</p:tagLst>
</file>

<file path=ppt/tags/tag2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Yv6CZfOGTJ5YvUnZwpHw"/>
</p:tagLst>
</file>

<file path=ppt/tags/tag2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i2kH7cYdlECNmGlcjrmQ"/>
</p:tagLst>
</file>

<file path=ppt/tags/tag2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xwHprFhN6B_Vfk0crvs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c1G_gVZgQWyOGVAdLGzw"/>
</p:tagLst>
</file>

<file path=ppt/tags/tag2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6HmlqaQR56fOc4lAd1hA"/>
</p:tagLst>
</file>

<file path=ppt/tags/tag2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j8IdXUp1acu4burUI6nQ"/>
</p:tagLst>
</file>

<file path=ppt/tags/tag2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yIYGIMsDON2f2wJEQNgw"/>
</p:tagLst>
</file>

<file path=ppt/tags/tag2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EJPEVrLQjnrHXLDxqO7g"/>
</p:tagLst>
</file>

<file path=ppt/tags/tag2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7gXecZHiYRYYgNKzaodQ"/>
</p:tagLst>
</file>

<file path=ppt/tags/tag2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pmavoU8hZskzkE4GY23Q"/>
</p:tagLst>
</file>

<file path=ppt/tags/tag2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_Gv6LW5ehVIztJk99fSQ"/>
</p:tagLst>
</file>

<file path=ppt/tags/tag2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QEzw_O.KPcSh5HPCWOvQ"/>
</p:tagLst>
</file>

<file path=ppt/tags/tag2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ySjfoqr7zwrbCepli72g"/>
</p:tagLst>
</file>

<file path=ppt/tags/tag2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ih1Pra2bpQx50uVCApl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WK6vQorjw7M.1Vr7176Q"/>
</p:tagLst>
</file>

<file path=ppt/tags/tag2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Wut4XAkd0ubuAD6aWGNQ"/>
</p:tagLst>
</file>

<file path=ppt/tags/tag2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1rCjMJwBDweZ3Z_t9wqg"/>
</p:tagLst>
</file>

<file path=ppt/tags/tag2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dHFx2MOHRuJ9sfHof52Q"/>
</p:tagLst>
</file>

<file path=ppt/tags/tag2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yhOnGNsoJfRkdhNBy7SQ"/>
</p:tagLst>
</file>

<file path=ppt/tags/tag2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g_bwsnBMk7TXPCXLqsoQ"/>
</p:tagLst>
</file>

<file path=ppt/tags/tag2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7OPsHAueGkXfelDn9huQ"/>
</p:tagLst>
</file>

<file path=ppt/tags/tag2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IZ4JUNcU_w6gdnbQldHw"/>
</p:tagLst>
</file>

<file path=ppt/tags/tag2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LQoTdQiMfMmrFC0KDHg"/>
</p:tagLst>
</file>

<file path=ppt/tags/tag2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4PEJwmh.tSo3R.fEMo9w"/>
</p:tagLst>
</file>

<file path=ppt/tags/tag2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ljkx3XcRdJhm8XeLB42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r1nS.WI_QLQUa_hkRUOA"/>
</p:tagLst>
</file>

<file path=ppt/tags/tag2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BAHzrqAIIfscyrhST0_A"/>
</p:tagLst>
</file>

<file path=ppt/tags/tag2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yN8OJZH8o5XpkhL_wkTA"/>
</p:tagLst>
</file>

<file path=ppt/tags/tag2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5wi4OURwRbiinpONes9A"/>
</p:tagLst>
</file>

<file path=ppt/tags/tag2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SPRTrWlHI_S03eacmjpA"/>
</p:tagLst>
</file>

<file path=ppt/tags/tag2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vuTNUz.CxAplOpZpUsXA"/>
</p:tagLst>
</file>

<file path=ppt/tags/tag2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jFUhaGaRjgSDV8FClfQ"/>
</p:tagLst>
</file>

<file path=ppt/tags/tag2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bMA9.36zAwINpqS0npcg"/>
</p:tagLst>
</file>

<file path=ppt/tags/tag2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VX_9vAnpCf7gvIX8KnwQ"/>
</p:tagLst>
</file>

<file path=ppt/tags/tag2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r5n2Org4xIF0n1Cu1HpA"/>
</p:tagLst>
</file>

<file path=ppt/tags/tag2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XY8PjpQRFuENyPb2pq.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PEOSxc.2DSGO_SUnHQBg"/>
</p:tagLst>
</file>

<file path=ppt/tags/tag2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hqQ9VPmFZTgbu.JxDDsg"/>
</p:tagLst>
</file>

<file path=ppt/tags/tag2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nQGxNr3Z7bdvfq4NhWCQ"/>
</p:tagLst>
</file>

<file path=ppt/tags/tag2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2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puUUIOwEoemy.h.7Ngug"/>
</p:tagLst>
</file>

<file path=ppt/tags/tag2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2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2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oBYPTCjRmFkS3hIVOsGg"/>
</p:tagLst>
</file>

<file path=ppt/tags/tag2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z6_On1lhRjKiaCKnNhGA"/>
</p:tagLst>
</file>

<file path=ppt/tags/tag2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2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rUWiJbEm8507Y0Xm8Cf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nWzXG8EDivI1i11d0hGw"/>
</p:tagLst>
</file>

<file path=ppt/tags/tag2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siqMK.t8L9jXFytJvoyQ"/>
</p:tagLst>
</file>

<file path=ppt/tags/tag2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lx5pjo2lP12hFf7KRX2w"/>
</p:tagLst>
</file>

<file path=ppt/tags/tag2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CNx9W7Q84tbELv4awqvw"/>
</p:tagLst>
</file>

<file path=ppt/tags/tag2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2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2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cWaYadZLKMTD9xojqPwQ"/>
</p:tagLst>
</file>

<file path=ppt/tags/tag2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1rcrifm90l7EkDRkQU0w"/>
</p:tagLst>
</file>

<file path=ppt/tags/tag2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2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2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3dhQpQt7Z1o5vcP07BsQ"/>
</p:tagLst>
</file>

<file path=ppt/tags/tag2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s6CuVJl5V0h6uMZ8BUCg"/>
</p:tagLst>
</file>

<file path=ppt/tags/tag2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SktyZEw.imzAiPuC8N.w"/>
</p:tagLst>
</file>

<file path=ppt/tags/tag2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R_bwvwWavsk5I6CWPg2Q"/>
</p:tagLst>
</file>

<file path=ppt/tags/tag2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2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2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2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2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A14YttTyUjcOczj9aQBA"/>
</p:tagLst>
</file>

<file path=ppt/tags/tag2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2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2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2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vNRIUzGpl7.Lwr1ffkSQ"/>
</p:tagLst>
</file>

<file path=ppt/tags/tag2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BvTx_GLeuC5Kr6K8lQQg"/>
</p:tagLst>
</file>

<file path=ppt/tags/tag2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2QkptewKgDBo6k1zBow"/>
</p:tagLst>
</file>

<file path=ppt/tags/tag2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rhIKw6ierFdjpJHcTXFw"/>
</p:tagLst>
</file>

<file path=ppt/tags/tag2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xxfeqLJu_wWQ4FVBjkFg"/>
</p:tagLst>
</file>

<file path=ppt/tags/tag2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IZrxAFstpXKaJP_LVTsw"/>
</p:tagLst>
</file>

<file path=ppt/tags/tag2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vlakOUU9MabIZYPOEQ3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PchHE.Khu3d6FyELdphA"/>
</p:tagLst>
</file>

<file path=ppt/tags/tag2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oTu8Z9LqtXSygB7026Xg"/>
</p:tagLst>
</file>

<file path=ppt/tags/tag2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Vlbcs7S7S49zliT65H_A"/>
</p:tagLst>
</file>

<file path=ppt/tags/tag2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q3sw8gPg3.bh2Im2R12Q"/>
</p:tagLst>
</file>

<file path=ppt/tags/tag2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GfPKcLhE_C9w0IWRY70w"/>
</p:tagLst>
</file>

<file path=ppt/tags/tag2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goUQeLawCdP5FEYSNJ6g"/>
</p:tagLst>
</file>

<file path=ppt/tags/tag2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Ft6YTjb0mEPdBng6C3SQ"/>
</p:tagLst>
</file>

<file path=ppt/tags/tag2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JAFvT7ehPGzvHJn84YCw"/>
</p:tagLst>
</file>

<file path=ppt/tags/tag2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63WJWFKPF3vMoR1zUUKw"/>
</p:tagLst>
</file>

<file path=ppt/tags/tag2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mx2NvWOMVHg8KSlL0iKQ"/>
</p:tagLst>
</file>

<file path=ppt/tags/tag2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pmavoU8hZskzkE4GY23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DswfXG8t7uGL.OWfV7oQ"/>
</p:tagLst>
</file>

<file path=ppt/tags/tag2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_Gv6LW5ehVIztJk99fSQ"/>
</p:tagLst>
</file>

<file path=ppt/tags/tag2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QEzw_O.KPcSh5HPCWOvQ"/>
</p:tagLst>
</file>

<file path=ppt/tags/tag2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ySjfoqr7zwrbCepli72g"/>
</p:tagLst>
</file>

<file path=ppt/tags/tag2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ih1Pra2bpQx50uVCAplw"/>
</p:tagLst>
</file>

<file path=ppt/tags/tag2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Wut4XAkd0ubuAD6aWGNQ"/>
</p:tagLst>
</file>

<file path=ppt/tags/tag2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1rCjMJwBDweZ3Z_t9wqg"/>
</p:tagLst>
</file>

<file path=ppt/tags/tag2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dHFx2MOHRuJ9sfHof52Q"/>
</p:tagLst>
</file>

<file path=ppt/tags/tag2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yhOnGNsoJfRkdhNBy7SQ"/>
</p:tagLst>
</file>

<file path=ppt/tags/tag2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g_bwsnBMk7TXPCXLqsoQ"/>
</p:tagLst>
</file>

<file path=ppt/tags/tag2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7OPsHAueGkXfelDn9hu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qcJr4pRlAAzkKVouf0Cg"/>
</p:tagLst>
</file>

<file path=ppt/tags/tag2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IZ4JUNcU_w6gdnbQldHw"/>
</p:tagLst>
</file>

<file path=ppt/tags/tag2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LQoTdQiMfMmrFC0KDHg"/>
</p:tagLst>
</file>

<file path=ppt/tags/tag2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4PEJwmh.tSo3R.fEMo9w"/>
</p:tagLst>
</file>

<file path=ppt/tags/tag2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ljkx3XcRdJhm8XeLB42w"/>
</p:tagLst>
</file>

<file path=ppt/tags/tag2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BAHzrqAIIfscyrhST0_A"/>
</p:tagLst>
</file>

<file path=ppt/tags/tag2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yN8OJZH8o5XpkhL_wkTA"/>
</p:tagLst>
</file>

<file path=ppt/tags/tag2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5wi4OURwRbiinpONes9A"/>
</p:tagLst>
</file>

<file path=ppt/tags/tag2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SPRTrWlHI_S03eacmjpA"/>
</p:tagLst>
</file>

<file path=ppt/tags/tag2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vuTNUz.CxAplOpZpUsXA"/>
</p:tagLst>
</file>

<file path=ppt/tags/tag2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jFUhaGaRjgSDV8FClf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Awvf332nUlOX1LXWKwDQ"/>
</p:tagLst>
</file>

<file path=ppt/tags/tag2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bMA9.36zAwINpqS0npcg"/>
</p:tagLst>
</file>

<file path=ppt/tags/tag2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VX_9vAnpCf7gvIX8KnwQ"/>
</p:tagLst>
</file>

<file path=ppt/tags/tag2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r5n2Org4xIF0n1Cu1HpA"/>
</p:tagLst>
</file>

<file path=ppt/tags/tag2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XY8PjpQRFuENyPb2pq.g"/>
</p:tagLst>
</file>

<file path=ppt/tags/tag2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hqQ9VPmFZTgbu.JxDDsg"/>
</p:tagLst>
</file>

<file path=ppt/tags/tag2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nQGxNr3Z7bdvfq4NhWCQ"/>
</p:tagLst>
</file>

<file path=ppt/tags/tag2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gJw8qR3Bvg_tjzVFI64g"/>
</p:tagLst>
</file>

<file path=ppt/tags/tag2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7IgHzKgYBkrwt2XBJBJw"/>
</p:tagLst>
</file>

<file path=ppt/tags/tag2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lN0QroinRs7nJuIAEXVA"/>
</p:tagLst>
</file>

<file path=ppt/tags/tag2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J.GsVg2LcWX3bfq9eyB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K3VkYOCwaX5NuRjWzBtA"/>
</p:tagLst>
</file>

<file path=ppt/tags/tag2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MsDaX3QmGAXWYA4eTh9Q"/>
</p:tagLst>
</file>

<file path=ppt/tags/tag2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PDO9ft6pekxwn5tc6Ygw"/>
</p:tagLst>
</file>

<file path=ppt/tags/tag2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k5IynK7RPnhSG8UCMwA"/>
</p:tagLst>
</file>

<file path=ppt/tags/tag2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5YUWMVlMyzmSfHP45v5g"/>
</p:tagLst>
</file>

<file path=ppt/tags/tag2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v2oMjbDAogURB.KvDGHQ"/>
</p:tagLst>
</file>

<file path=ppt/tags/tag2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Wd6KEy71NYM0tJtQ4L0A"/>
</p:tagLst>
</file>

<file path=ppt/tags/tag2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GFgdB3hpl2pT.pOarD.w"/>
</p:tagLst>
</file>

<file path=ppt/tags/tag2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RIkkUA1Z5.PyOeBVKFtQ"/>
</p:tagLst>
</file>

<file path=ppt/tags/tag2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dm73V6TuekS0GeVKxMWQ"/>
</p:tagLst>
</file>

<file path=ppt/tags/tag2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yEXaekkODvKiQ.OgnNq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ia8cc1wTE.9dDUiYxOaA"/>
</p:tagLst>
</file>

<file path=ppt/tags/tag2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HMV00tTuuOBJ0W8r.Q1g"/>
</p:tagLst>
</file>

<file path=ppt/tags/tag2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x5ChJqtxSMuZMcj3uWVA"/>
</p:tagLst>
</file>

<file path=ppt/tags/tag2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BSS.KwNg3E5LmHgIskIQ"/>
</p:tagLst>
</file>

<file path=ppt/tags/tag2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Cl3AIeCsQDto4ru__OKQ"/>
</p:tagLst>
</file>

<file path=ppt/tags/tag2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.arPOfEnzw7glW4srkgw"/>
</p:tagLst>
</file>

<file path=ppt/tags/tag2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BC7bXy9ecQshBTVtnK9w"/>
</p:tagLst>
</file>

<file path=ppt/tags/tag2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7d1MJAmMXx7hQeFTgsSw"/>
</p:tagLst>
</file>

<file path=ppt/tags/tag2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4lHmrtXL5x5NsuZAYhtg"/>
</p:tagLst>
</file>

<file path=ppt/tags/tag2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1_.Hn5LnSO58.ZRqeakg"/>
</p:tagLst>
</file>

<file path=ppt/tags/tag2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b.3AUwRQjsKSgwHEpeH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0e.qO5Nir4ihiokzJzOA"/>
</p:tagLst>
</file>

<file path=ppt/tags/tag2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EPG.H8ldiNVuZFOX3sng"/>
</p:tagLst>
</file>

<file path=ppt/tags/tag2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eE_9qNnJ7YvnS.HZeF0g"/>
</p:tagLst>
</file>

<file path=ppt/tags/tag2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2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2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2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bZpdsgV57UzQVTA9qzQA"/>
</p:tagLst>
</file>

<file path=ppt/tags/tag2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2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oBYPTCjRmFkS3hIVOsGg"/>
</p:tagLst>
</file>

<file path=ppt/tags/tag2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z6_On1lhRjKiaCKnNhGA"/>
</p:tagLst>
</file>

<file path=ppt/tags/tag2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HuBcwPPbd_of23e5kGPw"/>
</p:tagLst>
</file>

<file path=ppt/tags/tag2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2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utOWXjoZmkNhbeFZoSnw"/>
</p:tagLst>
</file>

<file path=ppt/tags/tag2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IwgJtRS8m520s9SOj9AA"/>
</p:tagLst>
</file>

<file path=ppt/tags/tag2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r2LOxObuAn5i.48POMqA"/>
</p:tagLst>
</file>

<file path=ppt/tags/tag2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DB_r1zO1ERqNYOm_zVkA"/>
</p:tagLst>
</file>

<file path=ppt/tags/tag2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nKITZOgbDHPv.oTfaspQ"/>
</p:tagLst>
</file>

<file path=ppt/tags/tag2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2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2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2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1rcrifm90l7EkDRkQU0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QJF.U0eOvnRJbsSKtkdA"/>
</p:tagLst>
</file>

<file path=ppt/tags/tag2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s6CuVJl5V0h6uMZ8BUCg"/>
</p:tagLst>
</file>

<file path=ppt/tags/tag2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SktyZEw.imzAiPuC8N.w"/>
</p:tagLst>
</file>

<file path=ppt/tags/tag2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2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R_bwvwWavsk5I6CWPg2Q"/>
</p:tagLst>
</file>

<file path=ppt/tags/tag2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2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2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2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iUYfdhStOKSImZSy4LX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gjw5FOeQ_r5nfW6loGNg"/>
</p:tagLst>
</file>

<file path=ppt/tags/tag2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2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2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BvTx_GLeuC5Kr6K8lQQg"/>
</p:tagLst>
</file>

<file path=ppt/tags/tag2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2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vNRIUzGpl7.Lwr1ffkSQ"/>
</p:tagLst>
</file>

<file path=ppt/tags/tag2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eIDFGvtAo0z9IY9xmfiw"/>
</p:tagLst>
</file>

<file path=ppt/tags/tag2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2QkptewKgDBo6k1zBow"/>
</p:tagLst>
</file>

<file path=ppt/tags/tag2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hDp1NJNUK2m_jf4sBeLw"/>
</p:tagLst>
</file>

<file path=ppt/tags/tag2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63LxgGIOvwDNz4ZI4jOw"/>
</p:tagLst>
</file>

<file path=ppt/tags/tag2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qCo3EsL9Ki15SCibos.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oAmQ36sAWm6MpTzc8amQ"/>
</p:tagLst>
</file>

<file path=ppt/tags/tag2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iilhOdleqZ5qLlxMNk_Q"/>
</p:tagLst>
</file>

<file path=ppt/tags/tag2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ifykE2DT1u3.wLYIAaXQ"/>
</p:tagLst>
</file>

<file path=ppt/tags/tag2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9zplLu5_1gaBn_T6PqnQ"/>
</p:tagLst>
</file>

<file path=ppt/tags/tag2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HR_YRIN5gm.EgD6oS7Jw"/>
</p:tagLst>
</file>

<file path=ppt/tags/tag2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n9Croo8GDh65F8gUrj6w"/>
</p:tagLst>
</file>

<file path=ppt/tags/tag2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vbve91le.UBu6tulKUPQ"/>
</p:tagLst>
</file>

<file path=ppt/tags/tag2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JgXLdMliJ2OgRBK31RRg"/>
</p:tagLst>
</file>

<file path=ppt/tags/tag2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My1QvPkJMCprfVF63hog"/>
</p:tagLst>
</file>

<file path=ppt/tags/tag2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YMwDM_zKTPmum7lx2vaQ"/>
</p:tagLst>
</file>

<file path=ppt/tags/tag2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u1uP.ypC2wNDnurQ5AZ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iNysCGbcKhCClm6Ni3aA"/>
</p:tagLst>
</file>

<file path=ppt/tags/tag2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vNj6BW6jgHNKzfnb4GRg"/>
</p:tagLst>
</file>

<file path=ppt/tags/tag2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m_rggJopdO7GAgWUxRZQ"/>
</p:tagLst>
</file>

<file path=ppt/tags/tag2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dyIb28XvGQhUgRXOlrbw"/>
</p:tagLst>
</file>

<file path=ppt/tags/tag2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emq1vXpdAyAwQ5LrhoTg"/>
</p:tagLst>
</file>

<file path=ppt/tags/tag2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CDvkjfQ6iGobDM3i7bZQ"/>
</p:tagLst>
</file>

<file path=ppt/tags/tag2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SE8SPmSaZYFlrN5fBblA"/>
</p:tagLst>
</file>

<file path=ppt/tags/tag2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uciudoI5Zp91tj9Z6UvQ"/>
</p:tagLst>
</file>

<file path=ppt/tags/tag2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_IJay1Xo4tr.aX7kPxlg"/>
</p:tagLst>
</file>

<file path=ppt/tags/tag2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3xCkb0SEmM5IphK_pDdg"/>
</p:tagLst>
</file>

<file path=ppt/tags/tag2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UJqpM4cVs9JhuyBIgDF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IlrE7KuPwajF9RBEETWA"/>
</p:tagLst>
</file>

<file path=ppt/tags/tag2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s9GrWH_HiJEZml2W5WGA"/>
</p:tagLst>
</file>

<file path=ppt/tags/tag2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OiHhXR.juL4CUmIJiTxg"/>
</p:tagLst>
</file>

<file path=ppt/tags/tag2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5BIAlFEtPlZl0MMg3xnw"/>
</p:tagLst>
</file>

<file path=ppt/tags/tag2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2HI8kGlJfj2C6juix.yQ"/>
</p:tagLst>
</file>

<file path=ppt/tags/tag2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ZlRggk7.D2sD.NQNgWYA"/>
</p:tagLst>
</file>

<file path=ppt/tags/tag2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4IwSyUiNv6YLemXwPnkw"/>
</p:tagLst>
</file>

<file path=ppt/tags/tag2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sWAKJQqqWP_APx4sMhag"/>
</p:tagLst>
</file>

<file path=ppt/tags/tag2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dtFYH2cUA9H4wuc945wQ"/>
</p:tagLst>
</file>

<file path=ppt/tags/tag2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Yv6CZfOGTJ5YvUnZwpHw"/>
</p:tagLst>
</file>

<file path=ppt/tags/tag2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Vb7VRkX4VaWE2Hkbl6P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mn3VRO5wY.q43svgSUXg"/>
</p:tagLst>
</file>

<file path=ppt/tags/tag2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34WkKnW9RGBdYf3YxK2g"/>
</p:tagLst>
</file>

<file path=ppt/tags/tag2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VmbIMiG96.2zACT.gYZw"/>
</p:tagLst>
</file>

<file path=ppt/tags/tag2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sCJrTUdDtnD2D.DFcV3Q"/>
</p:tagLst>
</file>

<file path=ppt/tags/tag2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TC4QLdiJ2Q0Bf2geeEcA"/>
</p:tagLst>
</file>

<file path=ppt/tags/tag2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mQc8Br2eYqEtYbosrq.Q"/>
</p:tagLst>
</file>

<file path=ppt/tags/tag2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RJJsVSfJddUiyEn.FNXg"/>
</p:tagLst>
</file>

<file path=ppt/tags/tag2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8QbDsWwC0Y34.4bymKmA"/>
</p:tagLst>
</file>

<file path=ppt/tags/tag2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YSgkI3vkz07.3fNmPtuw"/>
</p:tagLst>
</file>

<file path=ppt/tags/tag2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ugg_gHU5IIgz1OfZ49ug"/>
</p:tagLst>
</file>

<file path=ppt/tags/tag2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cfTpvQQ8zpuNNdVg08.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2YtVvnnLsFi8RqkR6JgQ"/>
</p:tagLst>
</file>

<file path=ppt/tags/tag2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mj2moz8BkBrt.znlnsIQ"/>
</p:tagLst>
</file>

<file path=ppt/tags/tag2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4DRgCwpyYGrTmtnoF.yg"/>
</p:tagLst>
</file>

<file path=ppt/tags/tag2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tJZi2epYbosldyZc7IAA"/>
</p:tagLst>
</file>

<file path=ppt/tags/tag2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HiKqEWoBxW.4rblL0ftw"/>
</p:tagLst>
</file>

<file path=ppt/tags/tag2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t6ERoD98C6u5MUtuB1Bw"/>
</p:tagLst>
</file>

<file path=ppt/tags/tag2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cv0yIwcCqzP74bZ1bMHg"/>
</p:tagLst>
</file>

<file path=ppt/tags/tag2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BJgumaYgEH8AENtapArA"/>
</p:tagLst>
</file>

<file path=ppt/tags/tag2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Z3mqeaIyrAY0Yc_WSEfQ"/>
</p:tagLst>
</file>

<file path=ppt/tags/tag2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QRjMVSDMu1EZorVbKKUA"/>
</p:tagLst>
</file>

<file path=ppt/tags/tag2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lAQphxvzXXc7MgqQON_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AKmSGw4rfh_BSJ0UKGhA"/>
</p:tagLst>
</file>

<file path=ppt/tags/tag2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an_rgZM7yMhcKgF_UwVQ"/>
</p:tagLst>
</file>

<file path=ppt/tags/tag2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9q.hHEMFoW59C7joDAww"/>
</p:tagLst>
</file>

<file path=ppt/tags/tag2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e.0pjLUlgJzT2HxfX9MQ"/>
</p:tagLst>
</file>

<file path=ppt/tags/tag2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3cKCtXvaP9bD6Z7la8Jw"/>
</p:tagLst>
</file>

<file path=ppt/tags/tag2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BeSD0esdBg2_qIAmv5Gg"/>
</p:tagLst>
</file>

<file path=ppt/tags/tag2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vx9AWH0nuwmdQTMd4IYA"/>
</p:tagLst>
</file>

<file path=ppt/tags/tag2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iyDdnyMlzmn9a7gCPnTQ"/>
</p:tagLst>
</file>

<file path=ppt/tags/tag2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nyOxi7Y4oE4_u1HvkoNQ"/>
</p:tagLst>
</file>

<file path=ppt/tags/tag2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PhfcOq8XWHo6V7180S0w"/>
</p:tagLst>
</file>

<file path=ppt/tags/tag2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ORdvlM7FvTOga5Xgm7q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mKlBc0WzEKS5n7jSStoQ"/>
</p:tagLst>
</file>

<file path=ppt/tags/tag2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kCdzpd6mWuu6FZZZBu.w"/>
</p:tagLst>
</file>

<file path=ppt/tags/tag2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NXKPKSDM4qzYp6fP.lFA"/>
</p:tagLst>
</file>

<file path=ppt/tags/tag2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NWyzV9jUH10Dlzb_pUPw"/>
</p:tagLst>
</file>

<file path=ppt/tags/tag2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2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2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4AmJ12YxnGbNnjf6p5Zw"/>
</p:tagLst>
</file>

<file path=ppt/tags/tag2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UM_1Q3Q9rTStVkeLknpg"/>
</p:tagLst>
</file>

<file path=ppt/tags/tag2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ooYvfQvjA0yLX2zv.cqQ"/>
</p:tagLst>
</file>

<file path=ppt/tags/tag2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S71GoreumTlVXdbZ9kfg"/>
</p:tagLst>
</file>

<file path=ppt/tags/tag2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7r7P9lIbOAsJOO9Zjug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l4tg1NsxCwIjQsK5t0vw"/>
</p:tagLst>
</file>

<file path=ppt/tags/tag2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2PqgCht3x1wLTS0kpf6A"/>
</p:tagLst>
</file>

<file path=ppt/tags/tag2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nRkmVYE9alISKybAJsgw"/>
</p:tagLst>
</file>

<file path=ppt/tags/tag2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2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2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2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2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HjB3vjYo7bPjfKDNiK8A"/>
</p:tagLst>
</file>

<file path=ppt/tags/tag2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2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1rcrifm90l7EkDRkQU0w"/>
</p:tagLst>
</file>

<file path=ppt/tags/tag2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R_bwvwWavsk5I6CWPg2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NUf5sLozZ.woZWl_dvoA"/>
</p:tagLst>
</file>

<file path=ppt/tags/tag2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s6CuVJl5V0h6uMZ8BUCg"/>
</p:tagLst>
</file>

<file path=ppt/tags/tag2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SktyZEw.imzAiPuC8N.w"/>
</p:tagLst>
</file>

<file path=ppt/tags/tag2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2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CpNy139xWT72c7.nBToA"/>
</p:tagLst>
</file>

<file path=ppt/tags/tag2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2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2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2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2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2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9qLerjjdP80i40urIf9Q"/>
</p:tagLst>
</file>

<file path=ppt/tags/tag2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2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2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2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vNRIUzGpl7.Lwr1ffkSQ"/>
</p:tagLst>
</file>

<file path=ppt/tags/tag2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eIDFGvtAo0z9IY9xmfiw"/>
</p:tagLst>
</file>

<file path=ppt/tags/tag2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BvTx_GLeuC5Kr6K8lQQg"/>
</p:tagLst>
</file>

<file path=ppt/tags/tag2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2QkptewKgDBo6k1zBow"/>
</p:tagLst>
</file>

<file path=ppt/tags/tag2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hDp1NJNUK2m_jf4sBeL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sy_C4gegAIAIlwyxqhCg"/>
</p:tagLst>
</file>

<file path=ppt/tags/tag2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n9Croo8GDh65F8gUrj6w"/>
</p:tagLst>
</file>

<file path=ppt/tags/tag2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vbve91le.UBu6tulKUPQ"/>
</p:tagLst>
</file>

<file path=ppt/tags/tag2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JgXLdMliJ2OgRBK31RRg"/>
</p:tagLst>
</file>

<file path=ppt/tags/tag2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My1QvPkJMCprfVF63hog"/>
</p:tagLst>
</file>

<file path=ppt/tags/tag2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YMwDM_zKTPmum7lx2vaQ"/>
</p:tagLst>
</file>

<file path=ppt/tags/tag2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u1uP.ypC2wNDnurQ5AZA"/>
</p:tagLst>
</file>

<file path=ppt/tags/tag2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d_o4SdyRlRlIKEn7to.Q"/>
</p:tagLst>
</file>

<file path=ppt/tags/tag2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LtdZg5RH_SYuU7rwAhSw"/>
</p:tagLst>
</file>

<file path=ppt/tags/tag2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Qmnu1.2RF3jmia4uOvUg"/>
</p:tagLst>
</file>

<file path=ppt/tags/tag2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SP6zuOtaVeqGcXdWcTv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1fMNsngB7MtIq7ffZ6kw"/>
</p:tagLst>
</file>

<file path=ppt/tags/tag2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L35Tno7VjoYwT0AooTtg"/>
</p:tagLst>
</file>

<file path=ppt/tags/tag2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Z2SOrkY42KL49XMvWARg"/>
</p:tagLst>
</file>

<file path=ppt/tags/tag2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8QbDsWwC0Y34.4bymKmA"/>
</p:tagLst>
</file>

<file path=ppt/tags/tag2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YSgkI3vkz07.3fNmPtuw"/>
</p:tagLst>
</file>

<file path=ppt/tags/tag2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ugg_gHU5IIgz1OfZ49ug"/>
</p:tagLst>
</file>

<file path=ppt/tags/tag2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cfTpvQQ8zpuNNdVg08.g"/>
</p:tagLst>
</file>

<file path=ppt/tags/tag2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mj2moz8BkBrt.znlnsIQ"/>
</p:tagLst>
</file>

<file path=ppt/tags/tag2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4DRgCwpyYGrTmtnoF.yg"/>
</p:tagLst>
</file>

<file path=ppt/tags/tag2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tJZi2epYbosldyZc7IAA"/>
</p:tagLst>
</file>

<file path=ppt/tags/tag2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HiKqEWoBxW.4rblL0ft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KCV3L9iTZRs7UXOA6g4w"/>
</p:tagLst>
</file>

<file path=ppt/tags/tag2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t6ERoD98C6u5MUtuB1Bw"/>
</p:tagLst>
</file>

<file path=ppt/tags/tag2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cv0yIwcCqzP74bZ1bMHg"/>
</p:tagLst>
</file>

<file path=ppt/tags/tag2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BJgumaYgEH8AENtapArA"/>
</p:tagLst>
</file>

<file path=ppt/tags/tag2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Z3mqeaIyrAY0Yc_WSEfQ"/>
</p:tagLst>
</file>

<file path=ppt/tags/tag2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QRjMVSDMu1EZorVbKKUA"/>
</p:tagLst>
</file>

<file path=ppt/tags/tag2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lAQphxvzXXc7MgqQON_Q"/>
</p:tagLst>
</file>

<file path=ppt/tags/tag2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an_rgZM7yMhcKgF_UwVQ"/>
</p:tagLst>
</file>

<file path=ppt/tags/tag2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9q.hHEMFoW59C7joDAww"/>
</p:tagLst>
</file>

<file path=ppt/tags/tag2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e.0pjLUlgJzT2HxfX9MQ"/>
</p:tagLst>
</file>

<file path=ppt/tags/tag2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3cKCtXvaP9bD6Z7la8J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DFSfxEXeTLdZcDZS.1qw"/>
</p:tagLst>
</file>

<file path=ppt/tags/tag2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BeSD0esdBg2_qIAmv5Gg"/>
</p:tagLst>
</file>

<file path=ppt/tags/tag2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vx9AWH0nuwmdQTMd4IYA"/>
</p:tagLst>
</file>

<file path=ppt/tags/tag2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iyDdnyMlzmn9a7gCPnTQ"/>
</p:tagLst>
</file>

<file path=ppt/tags/tag2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nyOxi7Y4oE4_u1HvkoNQ"/>
</p:tagLst>
</file>

<file path=ppt/tags/tag2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PhfcOq8XWHo6V7180S0w"/>
</p:tagLst>
</file>

<file path=ppt/tags/tag2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ORdvlM7FvTOga5Xgm7qA"/>
</p:tagLst>
</file>

<file path=ppt/tags/tag2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kCdzpd6mWuu6FZZZBu.w"/>
</p:tagLst>
</file>

<file path=ppt/tags/tag2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NXKPKSDM4qzYp6fP.lFA"/>
</p:tagLst>
</file>

<file path=ppt/tags/tag2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NWyzV9jUH10Dlzb_pUPw"/>
</p:tagLst>
</file>

<file path=ppt/tags/tag2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vujGHKjgO87yetXjRSp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d.2auFFi6qgJZEz_mOcQ"/>
</p:tagLst>
</file>

<file path=ppt/tags/tag2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PoHegjy8bDTOTFyFuv1w"/>
</p:tagLst>
</file>

<file path=ppt/tags/tag2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0rVcKzv9AiPKIrTNB0Pw"/>
</p:tagLst>
</file>

<file path=ppt/tags/tag2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JjztskCnn41j9FIc046g"/>
</p:tagLst>
</file>

<file path=ppt/tags/tag2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Z20IfXGWXZ5m_ltJ95og"/>
</p:tagLst>
</file>

<file path=ppt/tags/tag2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ZMwO9spIyEMGurVbPmKg"/>
</p:tagLst>
</file>

<file path=ppt/tags/tag2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_Sf5BkDqRonfavfzbTlg"/>
</p:tagLst>
</file>

<file path=ppt/tags/tag2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xuhCmvbhxr2zlkGTVucQ"/>
</p:tagLst>
</file>

<file path=ppt/tags/tag2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fF2wkiMKT0ueNny_Srrw"/>
</p:tagLst>
</file>

<file path=ppt/tags/tag2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GiWPvE3Yk8buvN3fDo8g"/>
</p:tagLst>
</file>

<file path=ppt/tags/tag2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ftU_NCadKTmTd7ccckr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SFLa.5hFL2TkU83ew__w"/>
</p:tagLst>
</file>

<file path=ppt/tags/tag2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Hc.BA.rDBsrJ6pyv.KIw"/>
</p:tagLst>
</file>

<file path=ppt/tags/tag2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Bvy4gEozIGbWGUDC0cA"/>
</p:tagLst>
</file>

<file path=ppt/tags/tag2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uDeA4joloFxNY7OoZsjg"/>
</p:tagLst>
</file>

<file path=ppt/tags/tag2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E.RxM9RHwmqkQ6JZ.IRw"/>
</p:tagLst>
</file>

<file path=ppt/tags/tag2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R3VEWvT91U07voZcFxVA"/>
</p:tagLst>
</file>

<file path=ppt/tags/tag2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YWJIxt.f04zSWkRpFuCA"/>
</p:tagLst>
</file>

<file path=ppt/tags/tag2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wJ15.laVE2AW5baVqN6A"/>
</p:tagLst>
</file>

<file path=ppt/tags/tag2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xvAYn8Y2Nnj0yKaw8qdQ"/>
</p:tagLst>
</file>

<file path=ppt/tags/tag2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uGS1c9DgGSQMc4.UgfgA"/>
</p:tagLst>
</file>

<file path=ppt/tags/tag2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F8xg4r8HZGdO4sCKzNl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p2DdOcpwhQATxmGKOqcw"/>
</p:tagLst>
</file>

<file path=ppt/tags/tag2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q8ABGpAK5JrdlMTnijQ"/>
</p:tagLst>
</file>

<file path=ppt/tags/tag2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JfbppjNLxrqHKufwH1yg"/>
</p:tagLst>
</file>

<file path=ppt/tags/tag2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223sZFLKytuQgzmqMhUg"/>
</p:tagLst>
</file>

<file path=ppt/tags/tag2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Yh8CmC7J3lx3b4A6SG.w"/>
</p:tagLst>
</file>

<file path=ppt/tags/tag2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uU1Bc6rE0TCK7VSPo7gw"/>
</p:tagLst>
</file>

<file path=ppt/tags/tag2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2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2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2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i7dKb2QORDbqf9W1_TiQ"/>
</p:tagLst>
</file>

<file path=ppt/tags/tag2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UM_1Q3Q9rTStVkeLknp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kFSPx8W_vAEnQz7acyPQ"/>
</p:tagLst>
</file>

<file path=ppt/tags/tag2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2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2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2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4AmJ12YxnGbNnjf6p5Zw"/>
</p:tagLst>
</file>

<file path=ppt/tags/tag2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NADNntPOlnw3g7KMlCTA"/>
</p:tagLst>
</file>

<file path=ppt/tags/tag2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k66rzATp_xAVqDfUHErA"/>
</p:tagLst>
</file>

<file path=ppt/tags/tag2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.7MTYJcS1j48AksmodKg"/>
</p:tagLst>
</file>

<file path=ppt/tags/tag2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sBcGpwxGdgwjAswD9yaQ"/>
</p:tagLst>
</file>

<file path=ppt/tags/tag2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MhvpL4heiN48pcNn_EkQ"/>
</p:tagLst>
</file>

<file path=ppt/tags/tag2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1rcrifm90l7EkDRkQU0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_YDi9Mfih0xTrd37zfyA"/>
</p:tagLst>
</file>

<file path=ppt/tags/tag2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2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2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2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SktyZEw.imzAiPuC8N.w"/>
</p:tagLst>
</file>

<file path=ppt/tags/tag2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CpNy139xWT72c7.nBToA"/>
</p:tagLst>
</file>

<file path=ppt/tags/tag2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2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R_bwvwWavsk5I6CWPg2Q"/>
</p:tagLst>
</file>

<file path=ppt/tags/tag2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s6CuVJl5V0h6uMZ8BUCg"/>
</p:tagLst>
</file>

<file path=ppt/tags/tag2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2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3Tzruh.TrdOaKRBnSeMg"/>
</p:tagLst>
</file>

<file path=ppt/tags/tag2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2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iUYfdhStOKSImZSy4LXQ"/>
</p:tagLst>
</file>

<file path=ppt/tags/tag2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nFzq4DP0.WvpgcD.NqnA"/>
</p:tagLst>
</file>

<file path=ppt/tags/tag2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2nfeSKuMIll6ReYNec2A"/>
</p:tagLst>
</file>

<file path=ppt/tags/tag2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mnrZ8vQpKPicA3hWDt9Q"/>
</p:tagLst>
</file>

<file path=ppt/tags/tag2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2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2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2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2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BiiF0NWfiUzSK2yrinkA"/>
</p:tagLst>
</file>

<file path=ppt/tags/tag2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7iJ3i4A8Oqkp4CuUk5mQ"/>
</p:tagLst>
</file>

<file path=ppt/tags/tag2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2QkptewKgDBo6k1zBow"/>
</p:tagLst>
</file>

<file path=ppt/tags/tag2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PEOSxc.2DSGO_SUnHQBg"/>
</p:tagLst>
</file>

<file path=ppt/tags/tag2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nWzXG8EDivI1i11d0hGw"/>
</p:tagLst>
</file>

<file path=ppt/tags/tag2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3dhQpQt7Z1o5vcP07BsQ"/>
</p:tagLst>
</file>

<file path=ppt/tags/tag2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A14YttTyUjcOczj9aQBA"/>
</p:tagLst>
</file>

<file path=ppt/tags/tag2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PchHE.Khu3d6FyELdphA"/>
</p:tagLst>
</file>

<file path=ppt/tags/tag2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1PvVm3D2iA.sV7tNSlRw"/>
</p:tagLst>
</file>

<file path=ppt/tags/tag2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0qM93OaJWNAgbfmW0DpQ"/>
</p:tagLst>
</file>

<file path=ppt/tags/tag2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qhg2Mtyzgifq.OvavbS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IYMHIM_sO5HEGdkuyAaA"/>
</p:tagLst>
</file>

<file path=ppt/tags/tag2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63LxgGIOvwDNz4ZI4jOw"/>
</p:tagLst>
</file>

<file path=ppt/tags/tag2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qCo3EsL9Ki15SCibos.w"/>
</p:tagLst>
</file>

<file path=ppt/tags/tag2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iilhOdleqZ5qLlxMNk_Q"/>
</p:tagLst>
</file>

<file path=ppt/tags/tag2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ifykE2DT1u3.wLYIAaXQ"/>
</p:tagLst>
</file>

<file path=ppt/tags/tag2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BiiF0NWfiUzSK2yrinkA"/>
</p:tagLst>
</file>

<file path=ppt/tags/tag2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IYMHIM_sO5HEGdkuyAaA"/>
</p:tagLst>
</file>

<file path=ppt/tags/tag2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h8N2o0UclC0DwhEZ7Lqg"/>
</p:tagLst>
</file>

<file path=ppt/tags/tag2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vJj0WId2xydSZekZ4qqw"/>
</p:tagLst>
</file>

<file path=ppt/tags/tag2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jpmaH7ePvKFvPSZxO7mw"/>
</p:tagLst>
</file>

<file path=ppt/tags/tag2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0SouMxLtMJ2amr7aERp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h8N2o0UclC0DwhEZ7Lqg"/>
</p:tagLst>
</file>

<file path=ppt/tags/tag2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.3WwYCZOBkPkaNyyRzrw"/>
</p:tagLst>
</file>

<file path=ppt/tags/tag2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XzkbkuK2Tmh2Y7wF8TgQ"/>
</p:tagLst>
</file>

<file path=ppt/tags/tag2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wAgD9xh2NL8S1RqUXFcg"/>
</p:tagLst>
</file>

<file path=ppt/tags/tag2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Qz4EK_1PJv.RCaqU.I4Q"/>
</p:tagLst>
</file>

<file path=ppt/tags/tag2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LoE7vy8X9DFEBDVXsxUQ"/>
</p:tagLst>
</file>

<file path=ppt/tags/tag2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GIICQNPv5coJ4I4r6czg"/>
</p:tagLst>
</file>

<file path=ppt/tags/tag2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UKjinH0OMa5A80XbYqbA"/>
</p:tagLst>
</file>

<file path=ppt/tags/tag2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LgWAcZbcl_OPukPSeCIA"/>
</p:tagLst>
</file>

<file path=ppt/tags/tag2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adU_XzWT3qgWDIH03W.w"/>
</p:tagLst>
</file>

<file path=ppt/tags/tag2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tFuHfWU6I2R9o.m60iG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vJj0WId2xydSZekZ4qqw"/>
</p:tagLst>
</file>

<file path=ppt/tags/tag2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XXEmvMfNMwzVpaKMTPaQ"/>
</p:tagLst>
</file>

<file path=ppt/tags/tag2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I57EUg9JNiP1k7PuXaFw"/>
</p:tagLst>
</file>

<file path=ppt/tags/tag2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KzSjaKvxGbOD.vL4bSpQ"/>
</p:tagLst>
</file>

<file path=ppt/tags/tag2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1KEPDHHudzY_jl5gt3Xg"/>
</p:tagLst>
</file>

<file path=ppt/tags/tag2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zskg8a5raTZhFkjgC_jw"/>
</p:tagLst>
</file>

<file path=ppt/tags/tag2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GqtnTgfndH6tcoJoijew"/>
</p:tagLst>
</file>

<file path=ppt/tags/tag2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8J5VkTVK6_jPzgNawj1Q"/>
</p:tagLst>
</file>

<file path=ppt/tags/tag2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ufUC2IyQ..AYhqjtjZYQ"/>
</p:tagLst>
</file>

<file path=ppt/tags/tag2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uTXHv9CSJ2BazdBXm9kg"/>
</p:tagLst>
</file>

<file path=ppt/tags/tag2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cNCEVSS5DEEvMjsuM0K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jpmaH7ePvKFvPSZxO7mw"/>
</p:tagLst>
</file>

<file path=ppt/tags/tag2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28yi54aaGrli2TP4vP.A"/>
</p:tagLst>
</file>

<file path=ppt/tags/tag2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2RbohE8elW7fOnG0rRnQ"/>
</p:tagLst>
</file>

<file path=ppt/tags/tag2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CgQlc2e6V1IRxz3Agalw"/>
</p:tagLst>
</file>

<file path=ppt/tags/tag2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SpeH3OYQ4FFtVI4y1PgQ"/>
</p:tagLst>
</file>

<file path=ppt/tags/tag2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o1XgxFJLFsNQDdf_Ba7Q"/>
</p:tagLst>
</file>

<file path=ppt/tags/tag2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UQHgf828t0BFlYJxolXg"/>
</p:tagLst>
</file>

<file path=ppt/tags/tag2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MUDgO9oqcKjFXG954iTA"/>
</p:tagLst>
</file>

<file path=ppt/tags/tag2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1DNUxweEWuIfryVsymiA"/>
</p:tagLst>
</file>

<file path=ppt/tags/tag2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vNj6BW6jgHNKzfnb4GRg"/>
</p:tagLst>
</file>

<file path=ppt/tags/tag2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m_rggJopdO7GAgWUxRZ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0SouMxLtMJ2amr7aERpQ"/>
</p:tagLst>
</file>

<file path=ppt/tags/tag2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dyIb28XvGQhUgRXOlrbw"/>
</p:tagLst>
</file>

<file path=ppt/tags/tag2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emq1vXpdAyAwQ5LrhoTg"/>
</p:tagLst>
</file>

<file path=ppt/tags/tag2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CDvkjfQ6iGobDM3i7bZQ"/>
</p:tagLst>
</file>

<file path=ppt/tags/tag2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SE8SPmSaZYFlrN5fBblA"/>
</p:tagLst>
</file>

<file path=ppt/tags/tag2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uciudoI5Zp91tj9Z6UvQ"/>
</p:tagLst>
</file>

<file path=ppt/tags/tag2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_IJay1Xo4tr.aX7kPxlg"/>
</p:tagLst>
</file>

<file path=ppt/tags/tag2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3xCkb0SEmM5IphK_pDdg"/>
</p:tagLst>
</file>

<file path=ppt/tags/tag2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UJqpM4cVs9JhuyBIgDFQ"/>
</p:tagLst>
</file>

<file path=ppt/tags/tag2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s9GrWH_HiJEZml2W5WGA"/>
</p:tagLst>
</file>

<file path=ppt/tags/tag2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OiHhXR.juL4CUmIJiTx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.3WwYCZOBkPkaNyyRzrw"/>
</p:tagLst>
</file>

<file path=ppt/tags/tag2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5BIAlFEtPlZl0MMg3xnw"/>
</p:tagLst>
</file>

<file path=ppt/tags/tag2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2HI8kGlJfj2C6juix.yQ"/>
</p:tagLst>
</file>

<file path=ppt/tags/tag2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ZlRggk7.D2sD.NQNgWYA"/>
</p:tagLst>
</file>

<file path=ppt/tags/tag2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4IwSyUiNv6YLemXwPnkw"/>
</p:tagLst>
</file>

<file path=ppt/tags/tag2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sWAKJQqqWP_APx4sMhag"/>
</p:tagLst>
</file>

<file path=ppt/tags/tag2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dtFYH2cUA9H4wuc945wQ"/>
</p:tagLst>
</file>

<file path=ppt/tags/tag2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Yv6CZfOGTJ5YvUnZwpHw"/>
</p:tagLst>
</file>

<file path=ppt/tags/tag2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2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2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nqNXNr.VmgMWXMbAeDQ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XzkbkuK2Tmh2Y7wF8TgQ"/>
</p:tagLst>
</file>

<file path=ppt/tags/tag2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2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2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uF7Xu7cq4L5l7ZXwQANA"/>
</p:tagLst>
</file>

<file path=ppt/tags/tag2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2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.KsE9S4PNZMAjYy525rQ"/>
</p:tagLst>
</file>

<file path=ppt/tags/tag2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9C2FqngO1ee67LLMB7bw"/>
</p:tagLst>
</file>

<file path=ppt/tags/tag2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bEQaIaN_nBw6GgJJQQ3g"/>
</p:tagLst>
</file>

<file path=ppt/tags/tag2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.TQ7C4zIuuMGjZ3sE_Ng"/>
</p:tagLst>
</file>

<file path=ppt/tags/tag2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2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HjIGZcrYsCCGXeyOxf1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wAgD9xh2NL8S1RqUXFcg"/>
</p:tagLst>
</file>

<file path=ppt/tags/tag2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orRiEN__0PzkR2PI1.wg"/>
</p:tagLst>
</file>

<file path=ppt/tags/tag2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2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2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2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2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2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2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2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Qz4EK_1PJv.RCaqU.I4Q"/>
</p:tagLst>
</file>

<file path=ppt/tags/tag2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2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2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2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2QkptewKgDBo6k1zBow"/>
</p:tagLst>
</file>

<file path=ppt/tags/tag2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F3qIji0imRLlu5QCbbQg"/>
</p:tagLst>
</file>

<file path=ppt/tags/tag2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BbSp_BUQu56YER2ducsw"/>
</p:tagLst>
</file>

<file path=ppt/tags/tag2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DItVEfsVuweLii4TGXqQ"/>
</p:tagLst>
</file>

<file path=ppt/tags/tag2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J1EMR6RtWatLiU1CcbcA"/>
</p:tagLst>
</file>

<file path=ppt/tags/tag2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mApjeuWTMr.FcUhXbpl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LoE7vy8X9DFEBDVXsxUQ"/>
</p:tagLst>
</file>

<file path=ppt/tags/tag2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pPnEu9xEyJWxNgM1pORw"/>
</p:tagLst>
</file>

<file path=ppt/tags/tag2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OK.PyzlHgUxMJr045ATw"/>
</p:tagLst>
</file>

<file path=ppt/tags/tag2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GJ5ui_lzKERGHNmfwN4w"/>
</p:tagLst>
</file>

<file path=ppt/tags/tag2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N_Qq.eBpf.Mw41OyT8Bw"/>
</p:tagLst>
</file>

<file path=ppt/tags/tag2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KzbF_b6XhLiwJGQnvK5g"/>
</p:tagLst>
</file>

<file path=ppt/tags/tag2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64g3yh_jS5iekjPpfLpg"/>
</p:tagLst>
</file>

<file path=ppt/tags/tag2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X5C.RPSWLWSOHY6TQrJQ"/>
</p:tagLst>
</file>

<file path=ppt/tags/tag2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pJQjr_g80CI8OI6IFgNw"/>
</p:tagLst>
</file>

<file path=ppt/tags/tag2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LcQABaAtrq2pVovHKA8Q"/>
</p:tagLst>
</file>

<file path=ppt/tags/tag2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.XNXB0bWBKjiHEJFcHZ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GIICQNPv5coJ4I4r6czg"/>
</p:tagLst>
</file>

<file path=ppt/tags/tag2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hMzH449AEB8R7c9ngb2Q"/>
</p:tagLst>
</file>

<file path=ppt/tags/tag2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npk_rhnwcOESShVUG6IQ"/>
</p:tagLst>
</file>

<file path=ppt/tags/tag2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ZX7M0ji._hTz2QbvIdcw"/>
</p:tagLst>
</file>

<file path=ppt/tags/tag2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IR.kE1BnBC6IdHgAQXSQ"/>
</p:tagLst>
</file>

<file path=ppt/tags/tag2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JrdGrwfbQpcWJ3kuNOVw"/>
</p:tagLst>
</file>

<file path=ppt/tags/tag2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1N3fuGY3J0R3eFaugzwg"/>
</p:tagLst>
</file>

<file path=ppt/tags/tag2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2DOcegPwpZh1j3W13UMg"/>
</p:tagLst>
</file>

<file path=ppt/tags/tag2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2LCYBFqEkpX6Gk2Q6nhQ"/>
</p:tagLst>
</file>

<file path=ppt/tags/tag2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DfTfdDpMivkWBSDkVN6w"/>
</p:tagLst>
</file>

<file path=ppt/tags/tag2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x1RI3okr_7Pm6Eyp0oP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UKjinH0OMa5A80XbYqbA"/>
</p:tagLst>
</file>

<file path=ppt/tags/tag2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HAK1MStF4whG.kDRgcdA"/>
</p:tagLst>
</file>

<file path=ppt/tags/tag2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1oqZBbQjclNtSYCjXamg"/>
</p:tagLst>
</file>

<file path=ppt/tags/tag2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GJzRoSuPTmprjLugoufA"/>
</p:tagLst>
</file>

<file path=ppt/tags/tag2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D0ajvsFyanEZjHHC9h6A"/>
</p:tagLst>
</file>

<file path=ppt/tags/tag2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AePecpJB7.q.vB3AiRkg"/>
</p:tagLst>
</file>

<file path=ppt/tags/tag2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qCeZ3NfWtsDBMpQGQIrQ"/>
</p:tagLst>
</file>

<file path=ppt/tags/tag2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72.qKRUXnMWrF078_ftQ"/>
</p:tagLst>
</file>

<file path=ppt/tags/tag2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fLN8tW7OccGv3L9kQ.BA"/>
</p:tagLst>
</file>

<file path=ppt/tags/tag2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ZMXHd_pv876QKgCWlUbw"/>
</p:tagLst>
</file>

<file path=ppt/tags/tag2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i69XMmpcUGVshhbF9yd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LgWAcZbcl_OPukPSeCIA"/>
</p:tagLst>
</file>

<file path=ppt/tags/tag2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vGYte4kRtzdkfr4fvHpw"/>
</p:tagLst>
</file>

<file path=ppt/tags/tag2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D1V_GV2vCXV4uEyZ7Nmg"/>
</p:tagLst>
</file>

<file path=ppt/tags/tag2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9GSgMicmdlItSBDRS8pg"/>
</p:tagLst>
</file>

<file path=ppt/tags/tag2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gEXZcAU12IPopZPfvDjQ"/>
</p:tagLst>
</file>

<file path=ppt/tags/tag2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Gv_jGyJSsj5m5lhzJOPQ"/>
</p:tagLst>
</file>

<file path=ppt/tags/tag2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2OJqVXPREl6mxKZcUFNA"/>
</p:tagLst>
</file>

<file path=ppt/tags/tag2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e78GL1NS.U97_M1HhYQA"/>
</p:tagLst>
</file>

<file path=ppt/tags/tag2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1mZY2MC31X8CLQrcIxkg"/>
</p:tagLst>
</file>

<file path=ppt/tags/tag2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ase6m94j5rJt_b8pkDHQ"/>
</p:tagLst>
</file>

<file path=ppt/tags/tag2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8p2GbAHlehw.X7HdjiK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adU_XzWT3qgWDIH03W.w"/>
</p:tagLst>
</file>

<file path=ppt/tags/tag2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PYTH4DoVk6McH66_g62g"/>
</p:tagLst>
</file>

<file path=ppt/tags/tag2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KyhMZ99IaZ0RutssYhvA"/>
</p:tagLst>
</file>

<file path=ppt/tags/tag2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ZkT_ll7yTxe7xKBgXUqg"/>
</p:tagLst>
</file>

<file path=ppt/tags/tag2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BCKYu382qFRryi9Cwcpw"/>
</p:tagLst>
</file>

<file path=ppt/tags/tag2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SvwETgFkqYfp3rqU0kqg"/>
</p:tagLst>
</file>

<file path=ppt/tags/tag2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fP3tgpXw6Vr0F6E7ZD8g"/>
</p:tagLst>
</file>

<file path=ppt/tags/tag2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M_29IYAPkH2y1erLnKJw"/>
</p:tagLst>
</file>

<file path=ppt/tags/tag2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8vJBN1ctKao7GGL0MACw"/>
</p:tagLst>
</file>

<file path=ppt/tags/tag2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SRw_yJc7o4iTk4hi0yVg"/>
</p:tagLst>
</file>

<file path=ppt/tags/tag2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f8eGWdAxYjAWIwAIcfK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tFuHfWU6I2R9o.m60iGg"/>
</p:tagLst>
</file>

<file path=ppt/tags/tag2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e5nmhWqp9zk4pc.rNUmw"/>
</p:tagLst>
</file>

<file path=ppt/tags/tag2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iOrSXUjtIdBri14cd4tg"/>
</p:tagLst>
</file>

<file path=ppt/tags/tag2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dHDBUCy5GRhpA7C_CYvg"/>
</p:tagLst>
</file>

<file path=ppt/tags/tag2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ymwL.X6ttODjmjC9.dyQ"/>
</p:tagLst>
</file>

<file path=ppt/tags/tag2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Gw7.c69eMM4eZcfEy4Ug"/>
</p:tagLst>
</file>

<file path=ppt/tags/tag2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nZafM8424cfwUMOzC6vg"/>
</p:tagLst>
</file>

<file path=ppt/tags/tag2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j7e3.upXE5NCE8QV9KIQ"/>
</p:tagLst>
</file>

<file path=ppt/tags/tag2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ogUxY6dHpxp0giRlVgHA"/>
</p:tagLst>
</file>

<file path=ppt/tags/tag2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3fTtuCdBp3Pw1xiVZDIA"/>
</p:tagLst>
</file>

<file path=ppt/tags/tag2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oQzHvGCHhC29L5UKj5b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XXEmvMfNMwzVpaKMTPaQ"/>
</p:tagLst>
</file>

<file path=ppt/tags/tag2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jhQ0JhUCCm17S_amNB9w"/>
</p:tagLst>
</file>

<file path=ppt/tags/tag2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g4MbrmcIy_n0GHpAC6EQ"/>
</p:tagLst>
</file>

<file path=ppt/tags/tag2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2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2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2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2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AeB5dniz6Rq1yEbocftQ"/>
</p:tagLst>
</file>

<file path=ppt/tags/tag2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2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Hfct3EhjdQlR38O.fhug"/>
</p:tagLst>
</file>

<file path=ppt/tags/tag2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lTgFb6cDnclt8BAse8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I57EUg9JNiP1k7PuXaFw"/>
</p:tagLst>
</file>

<file path=ppt/tags/tag2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NN7dJbTwfz84FCAayQgw"/>
</p:tagLst>
</file>

<file path=ppt/tags/tag2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DCAaF.IQW8NE0bXyysRQ"/>
</p:tagLst>
</file>

<file path=ppt/tags/tag2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WmrPDl.4O9huu4SlOnfg"/>
</p:tagLst>
</file>

<file path=ppt/tags/tag2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fI6.dlqtXSLBHiCVz7Hw"/>
</p:tagLst>
</file>

<file path=ppt/tags/tag2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2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2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2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2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2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KzSjaKvxGbOD.vL4bSpQ"/>
</p:tagLst>
</file>

<file path=ppt/tags/tag2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2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2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1KEPDHHudzY_jl5gt3X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zskg8a5raTZhFkjgC_j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GqtnTgfndH6tcoJoije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yXl10OXlad1A18QzPX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.TQ7C4zIuuMGjZ3sE_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nqNXNr.VmgMWXMbAeDQ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bEQaIaN_nBw6GgJJQQ3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9C2FqngO1ee67LLMB7b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4yduf0wDJjzw7QlVqSL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koOEHTXAaIP8TrROebQ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1DSslvoS40oE0NQg31K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VtP2Z.Q5KAHOiKUdS2d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F9ePPFtz_DwSvlxC2LJ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ecNWc41vEsg32IQuK8h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fqq2EhGanvL2Qy3_H_2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UZ8bSwzfKcjJ4wNPCQl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iUYfdhStOKSImZSy4LX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mnrZ8vQpKPicA3hWDt9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Khpi.MQVIvdIuGztaJu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2zzXhRs_wnWeUIhD801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74DAXT8Bb4q.VNtbN4v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WK6vQorjw7M.1Vr7176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r1nS.WI_QLQUa_hkRUO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PEOSxc.2DSGO_SUnHQB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nWzXG8EDivI1i11d0hG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3dhQpQt7Z1o5vcP07Bs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A14YttTyUjcOczj9aQB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PchHE.Khu3d6FyELdph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A0k7rui3kSqcgDNtNB8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bUAQUIWJjeNP3.HAVW5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2RCiLalxPEkoDo6sN7A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aGgbNITc5FmoQykssuy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6HGaBmfdpEgPnTQaQ6m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DFSfxEXeTLdZcDZS.1q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d.2auFFi6qgJZEz_mOc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SFLa.5hFL2TkU83ew__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p2DdOcpwhQATxmGKOqc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kFSPx8W_vAEnQz7acyP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_YDi9Mfih0xTrd37zfy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3Tzruh.TrdOaKRBnSeM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nFzq4DP0.WvpgcD.Nqn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2nfeSKuMIll6ReYNec2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BiiF0NWfiUzSK2yrink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IYMHIM_sO5HEGdkuyAa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h8N2o0UclC0DwhEZ7Lq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vJj0WId2xydSZekZ4qq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jpmaH7ePvKFvPSZxO7m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0SouMxLtMJ2amr7aERp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.3WwYCZOBkPkaNyyRzr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XzkbkuK2Tmh2Y7wF8Tg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wAgD9xh2NL8S1RqUXFc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Qz4EK_1PJv.RCaqU.I4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LoE7vy8X9DFEBDVXsxU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GIICQNPv5coJ4I4r6cz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UKjinH0OMa5A80XbYqb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LgWAcZbcl_OPukPSeCI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adU_XzWT3qgWDIH03W.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tFuHfWU6I2R9o.m60iG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XXEmvMfNMwzVpaKMTPa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I57EUg9JNiP1k7PuXaF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KzSjaKvxGbOD.vL4bSp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1KEPDHHudzY_jl5gt3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zskg8a5raTZhFkjgC_j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GqtnTgfndH6tcoJoije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oguwTtrhDBIATvIBCux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8yXu9cSLHCUVzmAvIhH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CSsCKftSUM2RfO9VFdQ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pqQT0ft_ZpUVJ7WvDbO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4UP3zKX8IlvK7RJwxiT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oznz.77Jx6P9tTSDe80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bbXCWrQxr1qoD7mfFFx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CvGI8JgvDmh5xFFAA_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OrFrXuzgzqa2IAoaKUf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K4SWre1Flky2Uq29GT8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pCDAtH9uKwHnCd4Helq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LcKmZu.68Op0rL9veGO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_XJT8zijNtcR6va7OX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Z9jaewPFMpO3RAKVXYT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PvlMJijuFgdUzeCGxOs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jl06gPtHzQJAjtJt9n5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Azej0ElVHYFtMouTf8_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rNO9UtYs_pOm2KbM7LC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sR0I74ejndEoiqt9_6X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CTkVhDSPtkglYMX00Ja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yX6OTn0ynRyI_CO.cUp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amDbGU6i86kfNzPsUaz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bEQaIaN_nBw6GgJJQQ3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9C2FqngO1ee67LLMB7b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4yduf0wDJjzw7QlVqSL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koOEHTXAaIP8TrROebQ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1DSslvoS40oE0NQg31K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yXl10OXlad1A18QzPX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mnrZ8vQpKPicA3hWDt9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.TQ7C4zIuuMGjZ3sE_N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nqNXNr.VmgMWXMbAeDQ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VtP2Z.Q5KAHOiKUdS2d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NB74V.sH0yM8mJ6rs4P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F9ePPFtz_DwSvlxC2LJ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nWbmFtKekrJtOmTGS5C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fqq2EhGanvL2Qy3_H_2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ecNWc41vEsg32IQuK8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Sfqus_hObYoUuSgWhcq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UZ8bSwzfKcjJ4wNPCQl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OOdVXDOePQJBUgpBFtd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Khpi.MQVIvdIuGztaJu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bQCTQc3sEyLZ4gzKohl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dWphyGMvIFb9V614LjJ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WK6vQorjw7M.1Vr7176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r1nS.WI_QLQUa_hkRUO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PEOSxc.2DSGO_SUnHQB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nWzXG8EDivI1i11d0hG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3dhQpQt7Z1o5vcP07Bs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A14YttTyUjcOczj9aQB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PchHE.Khu3d6FyELdph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kkxzG4SxyfhMwbZDiwvQ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8Zo.tx4UQ7nCZybtB7G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4rtSOnGWCIDqc87NCHJ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_paISW.TTIuRR83z5mK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4b1g6vCTELQsvt_1fqj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ajwerCteMeZNzu6hhNy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DFSfxEXeTLdZcDZS.1q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d.2auFFi6qgJZEz_mOc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SFLa.5hFL2TkU83ew__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p2DdOcpwhQATxmGKOqc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kFSPx8W_vAEnQz7acyP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_YDi9Mfih0xTrd37zfy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3Tzruh.TrdOaKRBnSeM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nFzq4DP0.WvpgcD.Nqn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2nfeSKuMIll6ReYNec2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BiiF0NWfiUzSK2yrink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IYMHIM_sO5HEGdkuyAa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h8N2o0UclC0DwhEZ7Lq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vJj0WId2xydSZekZ4qq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jpmaH7ePvKFvPSZxO7m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0SouMxLtMJ2amr7aERp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RskMCfRyGgSr0tOUNxK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.3WwYCZOBkPkaNyyRzr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XzkbkuK2Tmh2Y7wF8Tg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wAgD9xh2NL8S1RqUXFc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Qz4EK_1PJv.RCaqU.I4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LoE7vy8X9DFEBDVXsxU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GIICQNPv5coJ4I4r6cz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UKjinH0OMa5A80XbYqb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LgWAcZbcl_OPukPSeCIA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adU_XzWT3qgWDIH03W.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tFuHfWU6I2R9o.m60iG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XXEmvMfNMwzVpaKMTPa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I57EUg9JNiP1k7PuXaF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KzSjaKvxGbOD.vL4bSp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1KEPDHHudzY_jl5gt3X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zskg8a5raTZhFkjgC_j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GqtnTgfndH6tcoJoije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snYROkAGPp9eJbTd5FK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gTtXyhFfAwSFOWeVOac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P5p7BaSICBcp1cQoClf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7cHChzJvcVrDQXiov7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yn3uJ5oT3rt1njpVwNa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nTCViJXAY09Uek7j74Q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4lf_Z3tYLYrdZ.KLpsf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IA3Ws2ZsHBPj2Y0Wlam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zeekrQ8I8_NcxmXkSkJ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BzwdYHQj4IV00cveXmn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teQj3lgiH_QSigHDToZ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CiQiqz4LB0BiyEDiCDZ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d.nO9wYEOsRLZvionaL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Y5XFsbE1ehrCaatp2n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2BBCL01PQl93m4OsfqN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nhsado1KRvOMiwX1rUu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l0D3MPcU9Raj2GE.MvE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5IUjwpVLWwSB3Z_lNVS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KNsjmkSDi70zpv6VxMc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OLgGcXj5TH2moYJEYqB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QxoFDMLts8FK517Dc50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Y9xGYZ927lyP1C92mov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bEQaIaN_nBw6GgJJQQ3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kdM7WQTQSPr2FZWmjgo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.TQ7C4zIuuMGjZ3sE_N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GCrCjBI3tZR93FhysGd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3.xL41UZVyqf5ILbc2T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sSD1V71QVH0g.KK4Cz4g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nqNXNr.VmgMWXMbAeDQ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puctx7gwKII5n3Q3XD3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VtP2Z.Q5KAHOiKUdS2d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NB74V.sH0yM8mJ6rs4Pg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UZ8bSwzfKcjJ4wNPCQl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ecNWc41vEsg32IQuK8h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F9ePPFtz_DwSvlxC2LJ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fqq2EhGanvL2Qy3_H_2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Sfqus_hObYoUuSgWhcq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OOdVXDOePQJBUgpBFtd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nWbmFtKekrJtOmTGS5C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RlS622FXpUb2IcZh6WV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Khpi.MQVIvdIuGztaJu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bQCTQc3sEyLZ4gzKohlQ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dWphyGMvIFb9V614LjJ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WK6vQorjw7M.1Vr7176Q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r1nS.WI_QLQUa_hkRUO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PEOSxc.2DSGO_SUnHQBg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nWzXG8EDivI1i11d0hG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3dhQpQt7Z1o5vcP07BsQ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A14YttTyUjcOczj9aQB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PchHE.Khu3d6FyELdph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8Zo.tx4UQ7nCZybtB7Gw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4rtSOnGWCIDqc87NCHJ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_paISW.TTIuRR83z5mK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4b1g6vCTELQsvt_1fqjQ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ajwerCteMeZNzu6hhNy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DFSfxEXeTLdZcDZS.1qw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d.2auFFi6qgJZEz_mOcQ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SFLa.5hFL2TkU83ew__w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p2DdOcpwhQATxmGKOqcw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kFSPx8W_vAEnQz7acyP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_YDi9Mfih0xTrd37zfyA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3Tzruh.TrdOaKRBnSeMg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nFzq4DP0.WvpgcD.NqnA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2nfeSKuMIll6ReYNec2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BiiF0NWfiUzSK2yrink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IYMHIM_sO5HEGdkuyAa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h8N2o0UclC0DwhEZ7Lq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vJj0WId2xydSZekZ4qqw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jpmaH7ePvKFvPSZxO7mw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0SouMxLtMJ2amr7aERpQ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.3WwYCZOBkPkaNyyRzr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XzkbkuK2Tmh2Y7wF8Tg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wAgD9xh2NL8S1RqUXFcg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Qz4EK_1PJv.RCaqU.I4Q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LoE7vy8X9DFEBDVXsxU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GIICQNPv5coJ4I4r6cz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UKjinH0OMa5A80XbYqb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LgWAcZbcl_OPukPSeCI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adU_XzWT3qgWDIH03W.w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tFuHfWU6I2R9o.m60iG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XXEmvMfNMwzVpaKMTPa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I57EUg9JNiP1k7PuXaFw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KzSjaKvxGbOD.vL4bSp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1KEPDHHudzY_jl5gt3Xg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zskg8a5raTZhFkjgC_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GqtnTgfndH6tcoJoije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snYROkAGPp9eJbTd5FK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gTtXyhFfAwSFOWeVOac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P5p7BaSICBcp1cQoClf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7cHChzJvcVrDQXiov7l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yn3uJ5oT3rt1njpVwNa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nTCViJXAY09Uek7j74QQ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4lf_Z3tYLYrdZ.KLpsf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IA3Ws2ZsHBPj2Y0Wlam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zeekrQ8I8_NcxmXkSkJ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BzwdYHQj4IV00cveXmn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teQj3lgiH_QSigHDToZA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CiQiqz4LB0BiyEDiCDZQ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d.nO9wYEOsRLZvionaLg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Y5XFsbE1ehrCaatp2nv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2BBCL01PQl93m4OsfqN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nhsado1KRvOMiwX1rUuw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l0D3MPcU9Raj2GE.MvEQ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5IUjwpVLWwSB3Z_lNVSw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KNsjmkSDi70zpv6VxMc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OLgGcXj5TH2moYJEYqBg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QxoFDMLts8FK517Dc50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Y9xGYZ927lyP1C92movg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GCrCjBI3tZR93FhysGdw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bEQaIaN_nBw6GgJJQQ3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puctx7gwKII5n3Q3XD3Q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.TQ7C4zIuuMGjZ3sE_N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nqNXNr.VmgMWXMbAeDQA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kdM7WQTQSPr2FZWmjgo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3.xL41UZVyqf5ILbc2T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sSD1V71QVH0g.KK4Cz4g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ApDeb_UAvqenHChR68Xg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qDpEmPVanxGvN8xqlk6Q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VtP2Z.Q5KAHOiKUdS2dg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NB74V.sH0yM8mJ6rs4P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ksKfxKvZ9mdBfXwSulm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iEmWnoG7Zx3ED_5CKUx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gl6VS0THeQmQWlAdWkbQ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RlS622FXpUb2IcZh6WV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Khpi.MQVIvdIuGztaJuQ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bQCTQc3sEyLZ4gzKohlQ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dWphyGMvIFb9V614LjJ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WK6vQorjw7M.1Vr7176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r1nS.WI_QLQUa_hkRUO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PEOSxc.2DSGO_SUnHQBg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nWzXG8EDivI1i11d0hGw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3dhQpQt7Z1o5vcP07Bs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A14YttTyUjcOczj9aQBA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PchHE.Khu3d6FyELdph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8Zo.tx4UQ7nCZybtB7Gw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4rtSOnGWCIDqc87NCHJA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_paISW.TTIuRR83z5mK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kkxzG4SxyfhMwbZDiwv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DFSfxEXeTLdZcDZS.1qw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d.2auFFi6qgJZEz_mOc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SFLa.5hFL2TkU83ew__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p2DdOcpwhQATxmGKOqcw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kFSPx8W_vAEnQz7acyP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_YDi9Mfih0xTrd37zfyA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3Tzruh.TrdOaKRBnSeMg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nFzq4DP0.WvpgcD.Nqn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2nfeSKuMIll6ReYNec2A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BiiF0NWfiUzSK2yrink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IYMHIM_sO5HEGdkuyAaA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h8N2o0UclC0DwhEZ7Lqg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vJj0WId2xydSZekZ4qqw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jpmaH7ePvKFvPSZxO7mw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0SouMxLtMJ2amr7aERpQ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.3WwYCZOBkPkaNyyRzrw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XzkbkuK2Tmh2Y7wF8TgQ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wAgD9xh2NL8S1RqUXFc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Qz4EK_1PJv.RCaqU.I4Q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LoE7vy8X9DFEBDVXsxU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GIICQNPv5coJ4I4r6czg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UKjinH0OMa5A80XbYqbA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LgWAcZbcl_OPukPSeCI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adU_XzWT3qgWDIH03W.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tFuHfWU6I2R9o.m60iG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XXEmvMfNMwzVpaKMTPaQ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I57EUg9JNiP1k7PuXaFw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KzSjaKvxGbOD.vL4bSpQ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1KEPDHHudzY_jl5gt3Xg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zskg8a5raTZhFkjgC_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rZeyOpQnS_snPUxsYBww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GqtnTgfndH6tcoJoijew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snYROkAGPp9eJbTd5FKQ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gTtXyhFfAwSFOWeVOacQ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P5p7BaSICBcp1cQoClf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7cHChzJvcVrDQXiov7lg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yn3uJ5oT3rt1njpVwNag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nTCViJXAY09Uek7j74QQ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4lf_Z3tYLYrdZ.KLpsfg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IA3Ws2ZsHBPj2Y0Wlamw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zeekrQ8I8_NcxmXkSkJ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BzwdYHQj4IV00cveXmn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teQj3lgiH_QSigHDToZA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CiQiqz4LB0BiyEDiCDZQ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d.nO9wYEOsRLZvionaLg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.TQ7C4zIuuMGjZ3sE_Ng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nqNXNr.VmgMWXMbAeDQ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bEQaIaN_nBw6GgJJQQ3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kdM7WQTQSPr2FZWmjgoQ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GCrCjBI3tZR93FhysGdw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3.xL41UZVyqf5ILbc2Tg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VtP2Z.Q5KAHOiKUdS2d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qDpEmPVanxGvN8xqlk6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NB74V.sH0yM8mJ6rs4Pg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ynM.aW4VUqs90L79.Vg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jcNZna9samcf3hbOs3e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_LD_fUPMy93R8lnNdKjg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7Yxi6xmq3DJ4z.GqLRgA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WK6vQorjw7M.1Vr7176Q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r1nS.WI_QLQUa_hkRUO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PEOSxc.2DSGO_SUnHQBg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nWzXG8EDivI1i11d0hGw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3dhQpQt7Z1o5vcP07BsQ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A14YttTyUjcOczj9aQB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PchHE.Khu3d6FyELdphA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F66nDxC4MLdrDh7PDKU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LT5OkgyrqaQU4tWxC8N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vYX4g4XCYk5ubjrJS9ew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k4oQCZTgqAH7A2gpzE5w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CM3YcRf5OseiIBS7q6s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DFSfxEXeTLdZcDZS.1qw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d.2auFFi6qgJZEz_mOcQ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SFLa.5hFL2TkU83ew__w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p2DdOcpwhQATxmGKOqc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kFSPx8W_vAEnQz7acyPQ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_YDi9Mfih0xTrd37zfyA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3Tzruh.TrdOaKRBnSeMg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nFzq4DP0.WvpgcD.NqnA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2nfeSKuMIll6ReYNec2A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BiiF0NWfiUzSK2yrinkA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IYMHIM_sO5HEGdkuyAaA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h8N2o0UclC0DwhEZ7Lqg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vJj0WId2xydSZekZ4qqw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jpmaH7ePvKFvPSZxO7m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0SouMxLtMJ2amr7aERpQ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.3WwYCZOBkPkaNyyRzrw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XzkbkuK2Tmh2Y7wF8TgQ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wAgD9xh2NL8S1RqUXFcg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Qz4EK_1PJv.RCaqU.I4Q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LoE7vy8X9DFEBDVXsxUQ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GIICQNPv5coJ4I4r6czg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UKjinH0OMa5A80XbYqbA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LgWAcZbcl_OPukPSeCIA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adU_XzWT3qgWDIH03W.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tFuHfWU6I2R9o.m60iGg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XXEmvMfNMwzVpaKMTPaQ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I57EUg9JNiP1k7PuXaFw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KzSjaKvxGbOD.vL4bSpQ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1KEPDHHudzY_jl5gt3Xg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zskg8a5raTZhFkjgC_jw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GqtnTgfndH6tcoJoijew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D00ZhTIZwfaBYqlAgQkQ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w74Nl4AVkWdqvllPJ14Q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kxOj7m.VUijTSXokWZM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5g.Vce5a7eA6SiW.HMbg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afhWi3W9ammnijuBgLdw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DlLqNrmzMVWgqy2dTaxw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.5laPjIOCLXF7QXr7o6A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b3wnPaAk2XisbbwgoETQ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RDGLAoFmXQr2HOhblOOw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bUr1K5y4gmORPgKZTxEg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b2NqRrnF41zAZVgsoczA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dkbB9A36jCnqpiuGSO1Q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ieCXp0dxsHLSg5ki8K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tY_mcSIHXyZ86d.qiXE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i7ZQoj6C7qqoQHTweW2Q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5wez1uFwCuN50PJtrqsQ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XHu9fhGU173yibjHvxCA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vAxQI0r2rVJ81iVC1OPg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4pO1md22UgApcQuV85tQ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CaOCuxzW5PUFw2ZKHxBw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11IrNNzXB0lYyyBhTfeg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85bkqXlbFnPIoaOYBmEg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xO3FM3uRXz.GAwzmGPtg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BAMz5Ya_SKawkgcRlC8w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e4Pm3QSVKdkWrnwnp7VA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w4LhXVwcwSB4XZQiy.2g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.TQ7C4zIuuMGjZ3sE_Ng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bEQaIaN_nBw6GgJJQQ3g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nqNXNr.VmgMWXMbAeDQA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gUlRVYU5mwnZvqt.LRG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WOVhhMIsEkyddeh6oyw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VtP2Z.Q5KAHOiKUdS2dg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ydgegQB3K8HH67sfq5xA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UZ8bSwzfKcjJ4wNPCQlw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F9ePPFtz_DwSvlxC2LJ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fqq2EhGanvL2Qy3_H_2g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ecNWc41vEsg32IQuK8hA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sfmK_sigHFHBQScDawSA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PFfTycCJvBpA8BSa6Ma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bQCTQc3sEyLZ4gzKohlQ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dWphyGMvIFb9V614LjJA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WK6vQorjw7M.1Vr7176Q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r1nS.WI_QLQUa_hkRUOA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PEOSxc.2DSGO_SUnHQBg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nWzXG8EDivI1i11d0hGw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3dhQpQt7Z1o5vcP07BsQ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A14YttTyUjcOczj9aQBA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PchHE.Khu3d6FyELdphA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8Zo.tx4UQ7nCZybtB7G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4rtSOnGWCIDqc87NCHJ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_paISW.TTIuRR83z5mKg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4b1g6vCTELQsvt_1fqjQ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ajwerCteMeZNzu6hhNyw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DFSfxEXeTLdZcDZS.1qw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d.2auFFi6qgJZEz_mOcQ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SFLa.5hFL2TkU83ew__w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p2DdOcpwhQATxmGKOqcw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kFSPx8W_vAEnQz7acyPQ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_YDi9Mfih0xTrd37zf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3Tzruh.TrdOaKRBnSeMg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nFzq4DP0.WvpgcD.NqnA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2nfeSKuMIll6ReYNec2A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BiiF0NWfiUzSK2yrinkA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IYMHIM_sO5HEGdkuyAaA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h8N2o0UclC0DwhEZ7Lqg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vJj0WId2xydSZekZ4qqw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jpmaH7ePvKFvPSZxO7mw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0SouMxLtMJ2amr7aERpQ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.3WwYCZOBkPkaNyyRzr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XzkbkuK2Tmh2Y7wF8TgQ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wAgD9xh2NL8S1RqUXFcg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Qz4EK_1PJv.RCaqU.I4Q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LoE7vy8X9DFEBDVXsxUQ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GIICQNPv5coJ4I4r6czg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UKjinH0OMa5A80XbYqbA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LgWAcZbcl_OPukPSeCIA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adU_XzWT3qgWDIH03W.w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tFuHfWU6I2R9o.m60iGg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XXEmvMfNMwzVpaKMTPa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I57EUg9JNiP1k7PuXaFw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KzSjaKvxGbOD.vL4bSpQ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1KEPDHHudzY_jl5gt3Xg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zskg8a5raTZhFkjgC_jw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GqtnTgfndH6tcoJoijew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snYROkAGPp9eJbTd5FKQ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gTtXyhFfAwSFOWeVOacQ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P5p7BaSICBcp1cQoClfA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7cHChzJvcVrDQXiov7lg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yn3uJ5oT3rt1njpVwNa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nTCViJXAY09Uek7j74QQ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4lf_Z3tYLYrdZ.KLpsfg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IA3Ws2ZsHBPj2Y0Wlamw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zeekrQ8I8_NcxmXkSkJg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BzwdYHQj4IV00cveXmnQ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teQj3lgiH_QSigHDToZA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CiQiqz4LB0BiyEDiCDZQ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d.nO9wYEOsRLZvionaLg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Y5XFsbE1ehrCaatp2nvQ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2BBCL01PQl93m4Osfq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nhsado1KRvOMiwX1rUuw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l0D3MPcU9Raj2GE.MvEQ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5IUjwpVLWwSB3Z_lNVSw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KNsjmkSDi70zpv6VxMcg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OLgGcXj5TH2moYJEYqBg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QxoFDMLts8FK517Dc50Q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Y9xGYZ927lyP1C92movg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7cz_9mkMZeAv8YjXVBXQ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drP_KPZn0pABZhKDvvA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RjLR1lgDeR.gs4wzlJ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nqNXNr.VmgMWXMbAeDQA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bEQaIaN_nBw6GgJJQQ3g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kdM7WQTQSPr2FZWmjgoQ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Kb_a2HykPa_TYKfHE14A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3.xL41UZVyqf5ILbc2Tg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sSD1V71QVH0g.KK4Cz4g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puctx7gwKII5n3Q3XD3Q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WbT329VkTNfYFH1xLwg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ZhH0qJqzKInztO5ZQ7Q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.TQ7C4zIuuMGjZ3sE_N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GCrCjBI3tZR93FhysGdw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jLf_anRZHyIN_W6Glohw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m.450j3Y1MrpaTCyE0cg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43phLgJbIMRrXuGNomsw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_Na44vtuwRlFbXtOo9lQ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Du.at851z_NNMxuP2ZQ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MGBtIuEkaXUAgE4ucMg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dxzUziW5mnsig5VYtESA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qw5W4WhXbWUVqHjccbA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PtYL11ljTPRXnJxHkMw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iUYfdhStOKSImZSy4LXQ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mnrZ8vQpKPicA3hWDt9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nSX.3Ri.L4k1kvJDl2Q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T5PkByUfcDO8H6z4p3g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hXGdUfCWiNB.3vPwCtA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7iJ3i4A8Oqkp4CuUk5mQ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2QkptewKgDBo6k1zBo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PEOSxc.2DSGO_SUnHQBg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nWzXG8EDivI1i11d0hGw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3dhQpQt7Z1o5vcP07BsQ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A14YttTyUjcOczj9aQBA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PchHE.Khu3d6FyELdphA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1PvVm3D2iA.sV7tNSlRw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0qM93OaJWNAgbfmW0DpQ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qhg2Mtyzgifq.OvavbSA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63LxgGIOvwDNz4ZI4jOw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qCo3EsL9Ki15SCibos.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iilhOdleqZ5qLlxMNk_Q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ifykE2DT1u3.wLYIAaXQ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BiiF0NWfiUzSK2yrinkA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IYMHIM_sO5HEGdkuyAaA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h8N2o0UclC0DwhEZ7Lqg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vJj0WId2xydSZekZ4qqw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jpmaH7ePvKFvPSZxO7mw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0SouMxLtMJ2amr7aERpQ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.3WwYCZOBkPkaNyyRzrw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XzkbkuK2Tmh2Y7wF8Tg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wAgD9xh2NL8S1RqUXFcg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Qz4EK_1PJv.RCaqU.I4Q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LoE7vy8X9DFEBDVXsxUQ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GIICQNPv5coJ4I4r6czg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UKjinH0OMa5A80XbYqbA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LgWAcZbcl_OPukPSeCIA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adU_XzWT3qgWDIH03W.w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tFuHfWU6I2R9o.m60iGg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XXEmvMfNMwzVpaKMTPaQ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I57EUg9JNiP1k7PuXaF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KzSjaKvxGbOD.vL4bSpQ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1KEPDHHudzY_jl5gt3Xg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zskg8a5raTZhFkjgC_jw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GqtnTgfndH6tcoJoijew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8J5VkTVK6_jPzgNawj1Q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ufUC2IyQ..AYhqjtjZYQ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uTXHv9CSJ2BazdBXm9kg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cNCEVSS5DEEvMjsuM0KA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28yi54aaGrli2TP4vP.A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2RbohE8elW7fOnG0rRnQ"/>
</p:tagLst>
</file>

<file path=ppt/theme/theme1.xml><?xml version="1.0" encoding="utf-8"?>
<a:theme xmlns:a="http://schemas.openxmlformats.org/drawingml/2006/main" name="2_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uto Strategy &amp; Transformation Template_V1" id="{266CB88D-8362-4EA3-AEC8-E189E36BD52E}" vid="{AFB6F4D1-3A3F-4B05-949F-F74565767B20}"/>
    </a:ext>
  </a:extLst>
</a:theme>
</file>

<file path=ppt/theme/theme10.xml><?xml version="1.0" encoding="utf-8"?>
<a:theme xmlns:a="http://schemas.openxmlformats.org/drawingml/2006/main" name="5_Al-Futtaim_CF_FXT001 v1">
  <a:themeElements>
    <a:clrScheme name="Current">
      <a:dk1>
        <a:srgbClr val="000000"/>
      </a:dk1>
      <a:lt1>
        <a:srgbClr val="FFFFFF"/>
      </a:lt1>
      <a:dk2>
        <a:srgbClr val="1D1D52"/>
      </a:dk2>
      <a:lt2>
        <a:srgbClr val="FFFFFF"/>
      </a:lt2>
      <a:accent1>
        <a:srgbClr val="ABE9FF"/>
      </a:accent1>
      <a:accent2>
        <a:srgbClr val="00AEEF"/>
      </a:accent2>
      <a:accent3>
        <a:srgbClr val="005DB1"/>
      </a:accent3>
      <a:accent4>
        <a:srgbClr val="1D1D52"/>
      </a:accent4>
      <a:accent5>
        <a:srgbClr val="F08A38"/>
      </a:accent5>
      <a:accent6>
        <a:srgbClr val="808080"/>
      </a:accent6>
      <a:hlink>
        <a:srgbClr val="005DB1"/>
      </a:hlink>
      <a:folHlink>
        <a:srgbClr val="1D1D5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D1D52"/>
        </a:dk2>
        <a:lt2>
          <a:srgbClr val="FFFFFF"/>
        </a:lt2>
        <a:accent1>
          <a:srgbClr val="ABE9FF"/>
        </a:accent1>
        <a:accent2>
          <a:srgbClr val="00AEEF"/>
        </a:accent2>
        <a:accent3>
          <a:srgbClr val="005DB1"/>
        </a:accent3>
        <a:accent4>
          <a:srgbClr val="1D1D52"/>
        </a:accent4>
        <a:accent5>
          <a:srgbClr val="F08A38"/>
        </a:accent5>
        <a:accent6>
          <a:srgbClr val="808080"/>
        </a:accent6>
        <a:hlink>
          <a:srgbClr val="005DB1"/>
        </a:hlink>
        <a:folHlink>
          <a:srgbClr val="1D1D5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6_Al-Futtaim_CF_FXT001 v1">
  <a:themeElements>
    <a:clrScheme name="Current">
      <a:dk1>
        <a:srgbClr val="000000"/>
      </a:dk1>
      <a:lt1>
        <a:srgbClr val="FFFFFF"/>
      </a:lt1>
      <a:dk2>
        <a:srgbClr val="1D1D52"/>
      </a:dk2>
      <a:lt2>
        <a:srgbClr val="FFFFFF"/>
      </a:lt2>
      <a:accent1>
        <a:srgbClr val="ABE9FF"/>
      </a:accent1>
      <a:accent2>
        <a:srgbClr val="00AEEF"/>
      </a:accent2>
      <a:accent3>
        <a:srgbClr val="005DB1"/>
      </a:accent3>
      <a:accent4>
        <a:srgbClr val="1D1D52"/>
      </a:accent4>
      <a:accent5>
        <a:srgbClr val="F08A38"/>
      </a:accent5>
      <a:accent6>
        <a:srgbClr val="808080"/>
      </a:accent6>
      <a:hlink>
        <a:srgbClr val="005DB1"/>
      </a:hlink>
      <a:folHlink>
        <a:srgbClr val="1D1D5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D1D52"/>
        </a:dk2>
        <a:lt2>
          <a:srgbClr val="FFFFFF"/>
        </a:lt2>
        <a:accent1>
          <a:srgbClr val="ABE9FF"/>
        </a:accent1>
        <a:accent2>
          <a:srgbClr val="00AEEF"/>
        </a:accent2>
        <a:accent3>
          <a:srgbClr val="005DB1"/>
        </a:accent3>
        <a:accent4>
          <a:srgbClr val="1D1D52"/>
        </a:accent4>
        <a:accent5>
          <a:srgbClr val="F08A38"/>
        </a:accent5>
        <a:accent6>
          <a:srgbClr val="808080"/>
        </a:accent6>
        <a:hlink>
          <a:srgbClr val="005DB1"/>
        </a:hlink>
        <a:folHlink>
          <a:srgbClr val="1D1D5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3_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5" id="{AE390A88-97CA-41E9-824B-643367F317B4}" vid="{FC435FCC-79BF-4757-8FA3-D717BB23D6FE}"/>
    </a:ext>
  </a:extLst>
</a:theme>
</file>

<file path=ppt/theme/theme13.xml><?xml version="1.0" encoding="utf-8"?>
<a:theme xmlns:a="http://schemas.openxmlformats.org/drawingml/2006/main" name="7_Al-Futtaim_CF_FXT001 v1">
  <a:themeElements>
    <a:clrScheme name="Current">
      <a:dk1>
        <a:srgbClr val="000000"/>
      </a:dk1>
      <a:lt1>
        <a:srgbClr val="FFFFFF"/>
      </a:lt1>
      <a:dk2>
        <a:srgbClr val="1D1D52"/>
      </a:dk2>
      <a:lt2>
        <a:srgbClr val="FFFFFF"/>
      </a:lt2>
      <a:accent1>
        <a:srgbClr val="ABE9FF"/>
      </a:accent1>
      <a:accent2>
        <a:srgbClr val="00AEEF"/>
      </a:accent2>
      <a:accent3>
        <a:srgbClr val="005DB1"/>
      </a:accent3>
      <a:accent4>
        <a:srgbClr val="1D1D52"/>
      </a:accent4>
      <a:accent5>
        <a:srgbClr val="F08A38"/>
      </a:accent5>
      <a:accent6>
        <a:srgbClr val="808080"/>
      </a:accent6>
      <a:hlink>
        <a:srgbClr val="005DB1"/>
      </a:hlink>
      <a:folHlink>
        <a:srgbClr val="1D1D5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D1D52"/>
        </a:dk2>
        <a:lt2>
          <a:srgbClr val="FFFFFF"/>
        </a:lt2>
        <a:accent1>
          <a:srgbClr val="ABE9FF"/>
        </a:accent1>
        <a:accent2>
          <a:srgbClr val="00AEEF"/>
        </a:accent2>
        <a:accent3>
          <a:srgbClr val="005DB1"/>
        </a:accent3>
        <a:accent4>
          <a:srgbClr val="1D1D52"/>
        </a:accent4>
        <a:accent5>
          <a:srgbClr val="F08A38"/>
        </a:accent5>
        <a:accent6>
          <a:srgbClr val="808080"/>
        </a:accent6>
        <a:hlink>
          <a:srgbClr val="005DB1"/>
        </a:hlink>
        <a:folHlink>
          <a:srgbClr val="1D1D5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8_Al-Futtaim_CF_FXT001 v1">
  <a:themeElements>
    <a:clrScheme name="Current">
      <a:dk1>
        <a:srgbClr val="000000"/>
      </a:dk1>
      <a:lt1>
        <a:srgbClr val="FFFFFF"/>
      </a:lt1>
      <a:dk2>
        <a:srgbClr val="1D1D52"/>
      </a:dk2>
      <a:lt2>
        <a:srgbClr val="FFFFFF"/>
      </a:lt2>
      <a:accent1>
        <a:srgbClr val="ABE9FF"/>
      </a:accent1>
      <a:accent2>
        <a:srgbClr val="00AEEF"/>
      </a:accent2>
      <a:accent3>
        <a:srgbClr val="005DB1"/>
      </a:accent3>
      <a:accent4>
        <a:srgbClr val="1D1D52"/>
      </a:accent4>
      <a:accent5>
        <a:srgbClr val="F08A38"/>
      </a:accent5>
      <a:accent6>
        <a:srgbClr val="808080"/>
      </a:accent6>
      <a:hlink>
        <a:srgbClr val="005DB1"/>
      </a:hlink>
      <a:folHlink>
        <a:srgbClr val="1D1D5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D1D52"/>
        </a:dk2>
        <a:lt2>
          <a:srgbClr val="FFFFFF"/>
        </a:lt2>
        <a:accent1>
          <a:srgbClr val="ABE9FF"/>
        </a:accent1>
        <a:accent2>
          <a:srgbClr val="00AEEF"/>
        </a:accent2>
        <a:accent3>
          <a:srgbClr val="005DB1"/>
        </a:accent3>
        <a:accent4>
          <a:srgbClr val="1D1D52"/>
        </a:accent4>
        <a:accent5>
          <a:srgbClr val="F08A38"/>
        </a:accent5>
        <a:accent6>
          <a:srgbClr val="808080"/>
        </a:accent6>
        <a:hlink>
          <a:srgbClr val="005DB1"/>
        </a:hlink>
        <a:folHlink>
          <a:srgbClr val="1D1D5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l-Futtaim_CF_FXT001 v1">
  <a:themeElements>
    <a:clrScheme name="Current">
      <a:dk1>
        <a:srgbClr val="000000"/>
      </a:dk1>
      <a:lt1>
        <a:srgbClr val="FFFFFF"/>
      </a:lt1>
      <a:dk2>
        <a:srgbClr val="1D1D52"/>
      </a:dk2>
      <a:lt2>
        <a:srgbClr val="FFFFFF"/>
      </a:lt2>
      <a:accent1>
        <a:srgbClr val="ABE9FF"/>
      </a:accent1>
      <a:accent2>
        <a:srgbClr val="00AEEF"/>
      </a:accent2>
      <a:accent3>
        <a:srgbClr val="005DB1"/>
      </a:accent3>
      <a:accent4>
        <a:srgbClr val="1D1D52"/>
      </a:accent4>
      <a:accent5>
        <a:srgbClr val="F08A38"/>
      </a:accent5>
      <a:accent6>
        <a:srgbClr val="808080"/>
      </a:accent6>
      <a:hlink>
        <a:srgbClr val="005DB1"/>
      </a:hlink>
      <a:folHlink>
        <a:srgbClr val="1D1D5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D1D52"/>
        </a:dk2>
        <a:lt2>
          <a:srgbClr val="FFFFFF"/>
        </a:lt2>
        <a:accent1>
          <a:srgbClr val="ABE9FF"/>
        </a:accent1>
        <a:accent2>
          <a:srgbClr val="00AEEF"/>
        </a:accent2>
        <a:accent3>
          <a:srgbClr val="005DB1"/>
        </a:accent3>
        <a:accent4>
          <a:srgbClr val="1D1D52"/>
        </a:accent4>
        <a:accent5>
          <a:srgbClr val="F08A38"/>
        </a:accent5>
        <a:accent6>
          <a:srgbClr val="808080"/>
        </a:accent6>
        <a:hlink>
          <a:srgbClr val="005DB1"/>
        </a:hlink>
        <a:folHlink>
          <a:srgbClr val="1D1D5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Al-Futtaim_CF_FXT001 v1">
  <a:themeElements>
    <a:clrScheme name="Current">
      <a:dk1>
        <a:srgbClr val="000000"/>
      </a:dk1>
      <a:lt1>
        <a:srgbClr val="FFFFFF"/>
      </a:lt1>
      <a:dk2>
        <a:srgbClr val="1D1D52"/>
      </a:dk2>
      <a:lt2>
        <a:srgbClr val="FFFFFF"/>
      </a:lt2>
      <a:accent1>
        <a:srgbClr val="ABE9FF"/>
      </a:accent1>
      <a:accent2>
        <a:srgbClr val="00AEEF"/>
      </a:accent2>
      <a:accent3>
        <a:srgbClr val="005DB1"/>
      </a:accent3>
      <a:accent4>
        <a:srgbClr val="1D1D52"/>
      </a:accent4>
      <a:accent5>
        <a:srgbClr val="F08A38"/>
      </a:accent5>
      <a:accent6>
        <a:srgbClr val="808080"/>
      </a:accent6>
      <a:hlink>
        <a:srgbClr val="005DB1"/>
      </a:hlink>
      <a:folHlink>
        <a:srgbClr val="1D1D5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D1D52"/>
        </a:dk2>
        <a:lt2>
          <a:srgbClr val="FFFFFF"/>
        </a:lt2>
        <a:accent1>
          <a:srgbClr val="ABE9FF"/>
        </a:accent1>
        <a:accent2>
          <a:srgbClr val="00AEEF"/>
        </a:accent2>
        <a:accent3>
          <a:srgbClr val="005DB1"/>
        </a:accent3>
        <a:accent4>
          <a:srgbClr val="1D1D52"/>
        </a:accent4>
        <a:accent5>
          <a:srgbClr val="F08A38"/>
        </a:accent5>
        <a:accent6>
          <a:srgbClr val="808080"/>
        </a:accent6>
        <a:hlink>
          <a:srgbClr val="005DB1"/>
        </a:hlink>
        <a:folHlink>
          <a:srgbClr val="1D1D5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5" id="{AE390A88-97CA-41E9-824B-643367F317B4}" vid="{FC435FCC-79BF-4757-8FA3-D717BB23D6FE}"/>
    </a:ext>
  </a:extLst>
</a:theme>
</file>

<file path=ppt/theme/theme5.xml><?xml version="1.0" encoding="utf-8"?>
<a:theme xmlns:a="http://schemas.openxmlformats.org/drawingml/2006/main" name="1_Al Futtaim_CF_DE1410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5" id="{AE390A88-97CA-41E9-824B-643367F317B4}" vid="{FC435FCC-79BF-4757-8FA3-D717BB23D6FE}"/>
    </a:ext>
  </a:extLst>
</a:theme>
</file>

<file path=ppt/theme/theme6.xml><?xml version="1.0" encoding="utf-8"?>
<a:theme xmlns:a="http://schemas.openxmlformats.org/drawingml/2006/main" name="12_Al-Futtaim_CF_FXT001 v1">
  <a:themeElements>
    <a:clrScheme name="Current">
      <a:dk1>
        <a:srgbClr val="000000"/>
      </a:dk1>
      <a:lt1>
        <a:srgbClr val="FFFFFF"/>
      </a:lt1>
      <a:dk2>
        <a:srgbClr val="1D1D52"/>
      </a:dk2>
      <a:lt2>
        <a:srgbClr val="FFFFFF"/>
      </a:lt2>
      <a:accent1>
        <a:srgbClr val="ABE9FF"/>
      </a:accent1>
      <a:accent2>
        <a:srgbClr val="00AEEF"/>
      </a:accent2>
      <a:accent3>
        <a:srgbClr val="005DB1"/>
      </a:accent3>
      <a:accent4>
        <a:srgbClr val="1D1D52"/>
      </a:accent4>
      <a:accent5>
        <a:srgbClr val="F08A38"/>
      </a:accent5>
      <a:accent6>
        <a:srgbClr val="808080"/>
      </a:accent6>
      <a:hlink>
        <a:srgbClr val="005DB1"/>
      </a:hlink>
      <a:folHlink>
        <a:srgbClr val="1D1D5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D1D52"/>
        </a:dk2>
        <a:lt2>
          <a:srgbClr val="FFFFFF"/>
        </a:lt2>
        <a:accent1>
          <a:srgbClr val="ABE9FF"/>
        </a:accent1>
        <a:accent2>
          <a:srgbClr val="00AEEF"/>
        </a:accent2>
        <a:accent3>
          <a:srgbClr val="005DB1"/>
        </a:accent3>
        <a:accent4>
          <a:srgbClr val="1D1D52"/>
        </a:accent4>
        <a:accent5>
          <a:srgbClr val="F08A38"/>
        </a:accent5>
        <a:accent6>
          <a:srgbClr val="808080"/>
        </a:accent6>
        <a:hlink>
          <a:srgbClr val="005DB1"/>
        </a:hlink>
        <a:folHlink>
          <a:srgbClr val="1D1D5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Al-Futtaim_CF_FXT001 v1">
  <a:themeElements>
    <a:clrScheme name="Current">
      <a:dk1>
        <a:srgbClr val="000000"/>
      </a:dk1>
      <a:lt1>
        <a:srgbClr val="FFFFFF"/>
      </a:lt1>
      <a:dk2>
        <a:srgbClr val="1D1D52"/>
      </a:dk2>
      <a:lt2>
        <a:srgbClr val="FFFFFF"/>
      </a:lt2>
      <a:accent1>
        <a:srgbClr val="ABE9FF"/>
      </a:accent1>
      <a:accent2>
        <a:srgbClr val="00AEEF"/>
      </a:accent2>
      <a:accent3>
        <a:srgbClr val="005DB1"/>
      </a:accent3>
      <a:accent4>
        <a:srgbClr val="1D1D52"/>
      </a:accent4>
      <a:accent5>
        <a:srgbClr val="F08A38"/>
      </a:accent5>
      <a:accent6>
        <a:srgbClr val="808080"/>
      </a:accent6>
      <a:hlink>
        <a:srgbClr val="005DB1"/>
      </a:hlink>
      <a:folHlink>
        <a:srgbClr val="1D1D5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D1D52"/>
        </a:dk2>
        <a:lt2>
          <a:srgbClr val="FFFFFF"/>
        </a:lt2>
        <a:accent1>
          <a:srgbClr val="ABE9FF"/>
        </a:accent1>
        <a:accent2>
          <a:srgbClr val="00AEEF"/>
        </a:accent2>
        <a:accent3>
          <a:srgbClr val="005DB1"/>
        </a:accent3>
        <a:accent4>
          <a:srgbClr val="1D1D52"/>
        </a:accent4>
        <a:accent5>
          <a:srgbClr val="F08A38"/>
        </a:accent5>
        <a:accent6>
          <a:srgbClr val="808080"/>
        </a:accent6>
        <a:hlink>
          <a:srgbClr val="005DB1"/>
        </a:hlink>
        <a:folHlink>
          <a:srgbClr val="1D1D5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Al-Futtaim_CF_FXT001 v1">
  <a:themeElements>
    <a:clrScheme name="Current">
      <a:dk1>
        <a:srgbClr val="000000"/>
      </a:dk1>
      <a:lt1>
        <a:srgbClr val="FFFFFF"/>
      </a:lt1>
      <a:dk2>
        <a:srgbClr val="1D1D52"/>
      </a:dk2>
      <a:lt2>
        <a:srgbClr val="FFFFFF"/>
      </a:lt2>
      <a:accent1>
        <a:srgbClr val="ABE9FF"/>
      </a:accent1>
      <a:accent2>
        <a:srgbClr val="00AEEF"/>
      </a:accent2>
      <a:accent3>
        <a:srgbClr val="005DB1"/>
      </a:accent3>
      <a:accent4>
        <a:srgbClr val="1D1D52"/>
      </a:accent4>
      <a:accent5>
        <a:srgbClr val="F08A38"/>
      </a:accent5>
      <a:accent6>
        <a:srgbClr val="808080"/>
      </a:accent6>
      <a:hlink>
        <a:srgbClr val="005DB1"/>
      </a:hlink>
      <a:folHlink>
        <a:srgbClr val="1D1D5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D1D52"/>
        </a:dk2>
        <a:lt2>
          <a:srgbClr val="FFFFFF"/>
        </a:lt2>
        <a:accent1>
          <a:srgbClr val="ABE9FF"/>
        </a:accent1>
        <a:accent2>
          <a:srgbClr val="00AEEF"/>
        </a:accent2>
        <a:accent3>
          <a:srgbClr val="005DB1"/>
        </a:accent3>
        <a:accent4>
          <a:srgbClr val="1D1D52"/>
        </a:accent4>
        <a:accent5>
          <a:srgbClr val="F08A38"/>
        </a:accent5>
        <a:accent6>
          <a:srgbClr val="808080"/>
        </a:accent6>
        <a:hlink>
          <a:srgbClr val="005DB1"/>
        </a:hlink>
        <a:folHlink>
          <a:srgbClr val="1D1D5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Al-Futtaim_CF_FXT001 v1">
  <a:themeElements>
    <a:clrScheme name="Current">
      <a:dk1>
        <a:srgbClr val="000000"/>
      </a:dk1>
      <a:lt1>
        <a:srgbClr val="FFFFFF"/>
      </a:lt1>
      <a:dk2>
        <a:srgbClr val="1D1D52"/>
      </a:dk2>
      <a:lt2>
        <a:srgbClr val="FFFFFF"/>
      </a:lt2>
      <a:accent1>
        <a:srgbClr val="ABE9FF"/>
      </a:accent1>
      <a:accent2>
        <a:srgbClr val="00AEEF"/>
      </a:accent2>
      <a:accent3>
        <a:srgbClr val="005DB1"/>
      </a:accent3>
      <a:accent4>
        <a:srgbClr val="1D1D52"/>
      </a:accent4>
      <a:accent5>
        <a:srgbClr val="F08A38"/>
      </a:accent5>
      <a:accent6>
        <a:srgbClr val="808080"/>
      </a:accent6>
      <a:hlink>
        <a:srgbClr val="005DB1"/>
      </a:hlink>
      <a:folHlink>
        <a:srgbClr val="1D1D5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D1D52"/>
        </a:dk2>
        <a:lt2>
          <a:srgbClr val="FFFFFF"/>
        </a:lt2>
        <a:accent1>
          <a:srgbClr val="ABE9FF"/>
        </a:accent1>
        <a:accent2>
          <a:srgbClr val="00AEEF"/>
        </a:accent2>
        <a:accent3>
          <a:srgbClr val="005DB1"/>
        </a:accent3>
        <a:accent4>
          <a:srgbClr val="1D1D52"/>
        </a:accent4>
        <a:accent5>
          <a:srgbClr val="F08A38"/>
        </a:accent5>
        <a:accent6>
          <a:srgbClr val="808080"/>
        </a:accent6>
        <a:hlink>
          <a:srgbClr val="005DB1"/>
        </a:hlink>
        <a:folHlink>
          <a:srgbClr val="1D1D5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70C94800AF7F4CAF0F3A99139B4F5F" ma:contentTypeVersion="4" ma:contentTypeDescription="Create a new document." ma:contentTypeScope="" ma:versionID="4b72c1f82a33853e2c26f4040aff39d2">
  <xsd:schema xmlns:xsd="http://www.w3.org/2001/XMLSchema" xmlns:xs="http://www.w3.org/2001/XMLSchema" xmlns:p="http://schemas.microsoft.com/office/2006/metadata/properties" xmlns:ns2="39a36256-714b-40ff-9369-a7ac756ceacc" targetNamespace="http://schemas.microsoft.com/office/2006/metadata/properties" ma:root="true" ma:fieldsID="6a762eca9028be6209ceb0a74a58692a" ns2:_="">
    <xsd:import namespace="39a36256-714b-40ff-9369-a7ac756cea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a36256-714b-40ff-9369-a7ac756cea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6730AC9-BB89-4574-B1D3-C280A350DEA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ABDDE3E-9B1F-483C-B332-E2ED7FFD9C5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9a36256-714b-40ff-9369-a7ac756ceac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6BF778F-7E45-4D7F-952A-5783DEFB4E8E}">
  <ds:schemaRefs>
    <ds:schemaRef ds:uri="http://schemas.microsoft.com/office/2006/documentManagement/types"/>
    <ds:schemaRef ds:uri="ab39abec-0211-4f06-843c-cc3c4edd5f9c"/>
    <ds:schemaRef ds:uri="http://www.w3.org/XML/1998/namespace"/>
    <ds:schemaRef ds:uri="http://purl.org/dc/elements/1.1/"/>
    <ds:schemaRef ds:uri="http://purl.org/dc/terms/"/>
    <ds:schemaRef ds:uri="6d471e4e-2e57-44d9-a931-6ce26dd46cee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533</TotalTime>
  <Words>512</Words>
  <Application>Microsoft Office PowerPoint</Application>
  <PresentationFormat>Widescreen</PresentationFormat>
  <Paragraphs>73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4" baseType="lpstr">
      <vt:lpstr>Arial</vt:lpstr>
      <vt:lpstr>Calibri</vt:lpstr>
      <vt:lpstr>Segoe UI</vt:lpstr>
      <vt:lpstr>Verdana</vt:lpstr>
      <vt:lpstr>Wingdings</vt:lpstr>
      <vt:lpstr>2_Al Futtaim_CF_DE1410</vt:lpstr>
      <vt:lpstr>Al-Futtaim_CF_FXT001 v1</vt:lpstr>
      <vt:lpstr>1_Al-Futtaim_CF_FXT001 v1</vt:lpstr>
      <vt:lpstr>Al Futtaim_CF_DE1410</vt:lpstr>
      <vt:lpstr>1_Al Futtaim_CF_DE1410</vt:lpstr>
      <vt:lpstr>12_Al-Futtaim_CF_FXT001 v1</vt:lpstr>
      <vt:lpstr>2_Al-Futtaim_CF_FXT001 v1</vt:lpstr>
      <vt:lpstr>3_Al-Futtaim_CF_FXT001 v1</vt:lpstr>
      <vt:lpstr>4_Al-Futtaim_CF_FXT001 v1</vt:lpstr>
      <vt:lpstr>5_Al-Futtaim_CF_FXT001 v1</vt:lpstr>
      <vt:lpstr>6_Al-Futtaim_CF_FXT001 v1</vt:lpstr>
      <vt:lpstr>3_Al Futtaim_CF_DE1410</vt:lpstr>
      <vt:lpstr>7_Al-Futtaim_CF_FXT001 v1</vt:lpstr>
      <vt:lpstr>8_Al-Futtaim_CF_FXT001 v1</vt:lpstr>
      <vt:lpstr>think-cell Slide</vt:lpstr>
      <vt:lpstr>Action Plan POAP [Plan on a page] </vt:lpstr>
      <vt:lpstr>Action Plan - Follow-up and Progress Review </vt:lpstr>
      <vt:lpstr>Action Plan POAP [Plan on a page] Examples</vt:lpstr>
      <vt:lpstr>Action Plan - Follow-up and Progress Review Exampl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ud Abbasi</dc:creator>
  <cp:lastModifiedBy>Saad Khan</cp:lastModifiedBy>
  <cp:revision>38</cp:revision>
  <cp:lastPrinted>2022-02-14T10:14:55Z</cp:lastPrinted>
  <dcterms:created xsi:type="dcterms:W3CDTF">2021-01-28T13:34:04Z</dcterms:created>
  <dcterms:modified xsi:type="dcterms:W3CDTF">2022-05-31T10:06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70C94800AF7F4CAF0F3A99139B4F5F</vt:lpwstr>
  </property>
</Properties>
</file>